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61" r:id="rId2"/>
    <p:sldId id="266" r:id="rId3"/>
    <p:sldId id="262" r:id="rId4"/>
    <p:sldId id="263" r:id="rId5"/>
    <p:sldId id="264" r:id="rId6"/>
    <p:sldId id="267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21" autoAdjust="0"/>
    <p:restoredTop sz="83625" autoAdjust="0"/>
  </p:normalViewPr>
  <p:slideViewPr>
    <p:cSldViewPr snapToGrid="0">
      <p:cViewPr varScale="1">
        <p:scale>
          <a:sx n="60" d="100"/>
          <a:sy n="60" d="100"/>
        </p:scale>
        <p:origin x="86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oremus, Darrell [JJCUS]" userId="bb9c7cbe-57f2-4a39-a77b-3e205d82d11d" providerId="ADAL" clId="{01F6BC21-C3DA-444E-B0C1-8E32354EB12B}"/>
    <pc:docChg chg="undo modSld">
      <pc:chgData name="Doremus, Darrell [JJCUS]" userId="bb9c7cbe-57f2-4a39-a77b-3e205d82d11d" providerId="ADAL" clId="{01F6BC21-C3DA-444E-B0C1-8E32354EB12B}" dt="2024-08-07T19:59:11.190" v="11" actId="20577"/>
      <pc:docMkLst>
        <pc:docMk/>
      </pc:docMkLst>
      <pc:sldChg chg="modSp mod">
        <pc:chgData name="Doremus, Darrell [JJCUS]" userId="bb9c7cbe-57f2-4a39-a77b-3e205d82d11d" providerId="ADAL" clId="{01F6BC21-C3DA-444E-B0C1-8E32354EB12B}" dt="2024-08-07T19:59:11.190" v="11" actId="20577"/>
        <pc:sldMkLst>
          <pc:docMk/>
          <pc:sldMk cId="3104735000" sldId="261"/>
        </pc:sldMkLst>
        <pc:spChg chg="mod">
          <ac:chgData name="Doremus, Darrell [JJCUS]" userId="bb9c7cbe-57f2-4a39-a77b-3e205d82d11d" providerId="ADAL" clId="{01F6BC21-C3DA-444E-B0C1-8E32354EB12B}" dt="2024-08-07T19:59:11.190" v="11" actId="20577"/>
          <ac:spMkLst>
            <pc:docMk/>
            <pc:sldMk cId="3104735000" sldId="261"/>
            <ac:spMk id="3" creationId="{CFDC5BEC-EF56-075A-539B-7C1D956A5E4E}"/>
          </ac:spMkLst>
        </pc:spChg>
      </pc:sldChg>
    </pc:docChg>
  </pc:docChgLst>
  <pc:docChgLst>
    <pc:chgData name="Mcmiller ii, Eric [GTSUS]" userId="76fc7ec3-6c48-4501-90b8-fa231d96bb7f" providerId="ADAL" clId="{7050B2FF-4B8D-4C8A-8399-F391EC0903A9}"/>
    <pc:docChg chg="undo redo custSel addSld delSld modSld sldOrd">
      <pc:chgData name="Mcmiller ii, Eric [GTSUS]" userId="76fc7ec3-6c48-4501-90b8-fa231d96bb7f" providerId="ADAL" clId="{7050B2FF-4B8D-4C8A-8399-F391EC0903A9}" dt="2024-08-21T20:17:09.980" v="2290" actId="20577"/>
      <pc:docMkLst>
        <pc:docMk/>
      </pc:docMkLst>
      <pc:sldChg chg="modSp mod modNotesTx">
        <pc:chgData name="Mcmiller ii, Eric [GTSUS]" userId="76fc7ec3-6c48-4501-90b8-fa231d96bb7f" providerId="ADAL" clId="{7050B2FF-4B8D-4C8A-8399-F391EC0903A9}" dt="2024-08-16T15:26:28.082" v="993" actId="20577"/>
        <pc:sldMkLst>
          <pc:docMk/>
          <pc:sldMk cId="3104735000" sldId="261"/>
        </pc:sldMkLst>
        <pc:spChg chg="mod">
          <ac:chgData name="Mcmiller ii, Eric [GTSUS]" userId="76fc7ec3-6c48-4501-90b8-fa231d96bb7f" providerId="ADAL" clId="{7050B2FF-4B8D-4C8A-8399-F391EC0903A9}" dt="2024-08-16T15:26:28.082" v="993" actId="20577"/>
          <ac:spMkLst>
            <pc:docMk/>
            <pc:sldMk cId="3104735000" sldId="261"/>
            <ac:spMk id="3" creationId="{CFDC5BEC-EF56-075A-539B-7C1D956A5E4E}"/>
          </ac:spMkLst>
        </pc:spChg>
      </pc:sldChg>
      <pc:sldChg chg="modSp mod ord modNotesTx">
        <pc:chgData name="Mcmiller ii, Eric [GTSUS]" userId="76fc7ec3-6c48-4501-90b8-fa231d96bb7f" providerId="ADAL" clId="{7050B2FF-4B8D-4C8A-8399-F391EC0903A9}" dt="2024-08-20T14:47:37.845" v="2125" actId="113"/>
        <pc:sldMkLst>
          <pc:docMk/>
          <pc:sldMk cId="673545597" sldId="262"/>
        </pc:sldMkLst>
        <pc:spChg chg="mod">
          <ac:chgData name="Mcmiller ii, Eric [GTSUS]" userId="76fc7ec3-6c48-4501-90b8-fa231d96bb7f" providerId="ADAL" clId="{7050B2FF-4B8D-4C8A-8399-F391EC0903A9}" dt="2024-08-20T14:47:37.845" v="2125" actId="113"/>
          <ac:spMkLst>
            <pc:docMk/>
            <pc:sldMk cId="673545597" sldId="262"/>
            <ac:spMk id="25" creationId="{8205B5FC-B869-8018-DAB4-93F330385F9F}"/>
          </ac:spMkLst>
        </pc:spChg>
        <pc:spChg chg="mod">
          <ac:chgData name="Mcmiller ii, Eric [GTSUS]" userId="76fc7ec3-6c48-4501-90b8-fa231d96bb7f" providerId="ADAL" clId="{7050B2FF-4B8D-4C8A-8399-F391EC0903A9}" dt="2024-08-20T14:46:54.096" v="2088" actId="14100"/>
          <ac:spMkLst>
            <pc:docMk/>
            <pc:sldMk cId="673545597" sldId="262"/>
            <ac:spMk id="28" creationId="{3CA6A331-E06C-6A20-B0F1-0544C8B0D91D}"/>
          </ac:spMkLst>
        </pc:spChg>
        <pc:spChg chg="mod">
          <ac:chgData name="Mcmiller ii, Eric [GTSUS]" userId="76fc7ec3-6c48-4501-90b8-fa231d96bb7f" providerId="ADAL" clId="{7050B2FF-4B8D-4C8A-8399-F391EC0903A9}" dt="2024-08-20T14:46:54.442" v="2089" actId="1076"/>
          <ac:spMkLst>
            <pc:docMk/>
            <pc:sldMk cId="673545597" sldId="262"/>
            <ac:spMk id="29" creationId="{2921E691-E637-04C8-A347-409D2ECEC094}"/>
          </ac:spMkLst>
        </pc:spChg>
        <pc:spChg chg="mod">
          <ac:chgData name="Mcmiller ii, Eric [GTSUS]" userId="76fc7ec3-6c48-4501-90b8-fa231d96bb7f" providerId="ADAL" clId="{7050B2FF-4B8D-4C8A-8399-F391EC0903A9}" dt="2024-08-20T13:36:14.330" v="1163" actId="688"/>
          <ac:spMkLst>
            <pc:docMk/>
            <pc:sldMk cId="673545597" sldId="262"/>
            <ac:spMk id="39" creationId="{C3476275-1C3B-ED36-1195-39250F15584B}"/>
          </ac:spMkLst>
        </pc:spChg>
      </pc:sldChg>
      <pc:sldChg chg="modNotesTx">
        <pc:chgData name="Mcmiller ii, Eric [GTSUS]" userId="76fc7ec3-6c48-4501-90b8-fa231d96bb7f" providerId="ADAL" clId="{7050B2FF-4B8D-4C8A-8399-F391EC0903A9}" dt="2024-08-13T13:51:11.689" v="434" actId="20577"/>
        <pc:sldMkLst>
          <pc:docMk/>
          <pc:sldMk cId="3884267056" sldId="263"/>
        </pc:sldMkLst>
      </pc:sldChg>
      <pc:sldChg chg="addSp delSp modSp add mod">
        <pc:chgData name="Mcmiller ii, Eric [GTSUS]" userId="76fc7ec3-6c48-4501-90b8-fa231d96bb7f" providerId="ADAL" clId="{7050B2FF-4B8D-4C8A-8399-F391EC0903A9}" dt="2024-08-13T18:10:21.889" v="543" actId="33524"/>
        <pc:sldMkLst>
          <pc:docMk/>
          <pc:sldMk cId="3784462172" sldId="264"/>
        </pc:sldMkLst>
        <pc:spChg chg="mod">
          <ac:chgData name="Mcmiller ii, Eric [GTSUS]" userId="76fc7ec3-6c48-4501-90b8-fa231d96bb7f" providerId="ADAL" clId="{7050B2FF-4B8D-4C8A-8399-F391EC0903A9}" dt="2024-08-13T18:10:21.889" v="543" actId="33524"/>
          <ac:spMkLst>
            <pc:docMk/>
            <pc:sldMk cId="3784462172" sldId="264"/>
            <ac:spMk id="4" creationId="{6F6C5345-B156-1A28-DBBC-251C3A9F7DC6}"/>
          </ac:spMkLst>
        </pc:spChg>
        <pc:picChg chg="del">
          <ac:chgData name="Mcmiller ii, Eric [GTSUS]" userId="76fc7ec3-6c48-4501-90b8-fa231d96bb7f" providerId="ADAL" clId="{7050B2FF-4B8D-4C8A-8399-F391EC0903A9}" dt="2024-08-13T18:08:40.115" v="436" actId="478"/>
          <ac:picMkLst>
            <pc:docMk/>
            <pc:sldMk cId="3784462172" sldId="264"/>
            <ac:picMk id="3" creationId="{2ED82249-C44A-BB0A-0FCA-0F237E1C9AE0}"/>
          </ac:picMkLst>
        </pc:picChg>
        <pc:picChg chg="add mod">
          <ac:chgData name="Mcmiller ii, Eric [GTSUS]" userId="76fc7ec3-6c48-4501-90b8-fa231d96bb7f" providerId="ADAL" clId="{7050B2FF-4B8D-4C8A-8399-F391EC0903A9}" dt="2024-08-13T18:09:00.386" v="439" actId="27614"/>
          <ac:picMkLst>
            <pc:docMk/>
            <pc:sldMk cId="3784462172" sldId="264"/>
            <ac:picMk id="5" creationId="{B1A7301B-1C5A-4716-093C-0C8FD7FB204E}"/>
          </ac:picMkLst>
        </pc:picChg>
      </pc:sldChg>
      <pc:sldChg chg="delSp add del mod">
        <pc:chgData name="Mcmiller ii, Eric [GTSUS]" userId="76fc7ec3-6c48-4501-90b8-fa231d96bb7f" providerId="ADAL" clId="{7050B2FF-4B8D-4C8A-8399-F391EC0903A9}" dt="2024-08-13T18:11:19.217" v="547" actId="47"/>
        <pc:sldMkLst>
          <pc:docMk/>
          <pc:sldMk cId="2937924578" sldId="265"/>
        </pc:sldMkLst>
        <pc:spChg chg="del">
          <ac:chgData name="Mcmiller ii, Eric [GTSUS]" userId="76fc7ec3-6c48-4501-90b8-fa231d96bb7f" providerId="ADAL" clId="{7050B2FF-4B8D-4C8A-8399-F391EC0903A9}" dt="2024-08-13T18:11:09.370" v="545" actId="478"/>
          <ac:spMkLst>
            <pc:docMk/>
            <pc:sldMk cId="2937924578" sldId="265"/>
            <ac:spMk id="4" creationId="{6F6C5345-B156-1A28-DBBC-251C3A9F7DC6}"/>
          </ac:spMkLst>
        </pc:spChg>
        <pc:picChg chg="del">
          <ac:chgData name="Mcmiller ii, Eric [GTSUS]" userId="76fc7ec3-6c48-4501-90b8-fa231d96bb7f" providerId="ADAL" clId="{7050B2FF-4B8D-4C8A-8399-F391EC0903A9}" dt="2024-08-13T18:11:07.649" v="544" actId="478"/>
          <ac:picMkLst>
            <pc:docMk/>
            <pc:sldMk cId="2937924578" sldId="265"/>
            <ac:picMk id="3" creationId="{2ED82249-C44A-BB0A-0FCA-0F237E1C9AE0}"/>
          </ac:picMkLst>
        </pc:picChg>
      </pc:sldChg>
      <pc:sldChg chg="modSp new mod ord">
        <pc:chgData name="Mcmiller ii, Eric [GTSUS]" userId="76fc7ec3-6c48-4501-90b8-fa231d96bb7f" providerId="ADAL" clId="{7050B2FF-4B8D-4C8A-8399-F391EC0903A9}" dt="2024-08-21T20:17:09.980" v="2290" actId="20577"/>
        <pc:sldMkLst>
          <pc:docMk/>
          <pc:sldMk cId="2789971449" sldId="266"/>
        </pc:sldMkLst>
        <pc:spChg chg="mod">
          <ac:chgData name="Mcmiller ii, Eric [GTSUS]" userId="76fc7ec3-6c48-4501-90b8-fa231d96bb7f" providerId="ADAL" clId="{7050B2FF-4B8D-4C8A-8399-F391EC0903A9}" dt="2024-08-13T18:13:03.193" v="768" actId="113"/>
          <ac:spMkLst>
            <pc:docMk/>
            <pc:sldMk cId="2789971449" sldId="266"/>
            <ac:spMk id="2" creationId="{DB987668-E56D-7013-E421-A5F9FFC5B3C0}"/>
          </ac:spMkLst>
        </pc:spChg>
        <pc:spChg chg="mod">
          <ac:chgData name="Mcmiller ii, Eric [GTSUS]" userId="76fc7ec3-6c48-4501-90b8-fa231d96bb7f" providerId="ADAL" clId="{7050B2FF-4B8D-4C8A-8399-F391EC0903A9}" dt="2024-08-21T20:17:09.980" v="2290" actId="20577"/>
          <ac:spMkLst>
            <pc:docMk/>
            <pc:sldMk cId="2789971449" sldId="266"/>
            <ac:spMk id="3" creationId="{D70D55E4-9054-A049-158D-8C4A6FEF2841}"/>
          </ac:spMkLst>
        </pc:spChg>
      </pc:sldChg>
      <pc:sldChg chg="addSp delSp modSp add mod ord setBg">
        <pc:chgData name="Mcmiller ii, Eric [GTSUS]" userId="76fc7ec3-6c48-4501-90b8-fa231d96bb7f" providerId="ADAL" clId="{7050B2FF-4B8D-4C8A-8399-F391EC0903A9}" dt="2024-08-20T15:57:16.384" v="2131" actId="20577"/>
        <pc:sldMkLst>
          <pc:docMk/>
          <pc:sldMk cId="1757017285" sldId="267"/>
        </pc:sldMkLst>
        <pc:spChg chg="mod ord">
          <ac:chgData name="Mcmiller ii, Eric [GTSUS]" userId="76fc7ec3-6c48-4501-90b8-fa231d96bb7f" providerId="ADAL" clId="{7050B2FF-4B8D-4C8A-8399-F391EC0903A9}" dt="2024-08-20T15:57:16.384" v="2131" actId="20577"/>
          <ac:spMkLst>
            <pc:docMk/>
            <pc:sldMk cId="1757017285" sldId="267"/>
            <ac:spMk id="4" creationId="{6F6C5345-B156-1A28-DBBC-251C3A9F7DC6}"/>
          </ac:spMkLst>
        </pc:spChg>
        <pc:spChg chg="add">
          <ac:chgData name="Mcmiller ii, Eric [GTSUS]" userId="76fc7ec3-6c48-4501-90b8-fa231d96bb7f" providerId="ADAL" clId="{7050B2FF-4B8D-4C8A-8399-F391EC0903A9}" dt="2024-08-20T13:39:25.590" v="1201" actId="26606"/>
          <ac:spMkLst>
            <pc:docMk/>
            <pc:sldMk cId="1757017285" sldId="267"/>
            <ac:spMk id="13" creationId="{AB902CB9-C7DC-4673-B7D5-F22DCF0EC54E}"/>
          </ac:spMkLst>
        </pc:spChg>
        <pc:picChg chg="add mod ord">
          <ac:chgData name="Mcmiller ii, Eric [GTSUS]" userId="76fc7ec3-6c48-4501-90b8-fa231d96bb7f" providerId="ADAL" clId="{7050B2FF-4B8D-4C8A-8399-F391EC0903A9}" dt="2024-08-20T13:39:25.590" v="1201" actId="26606"/>
          <ac:picMkLst>
            <pc:docMk/>
            <pc:sldMk cId="1757017285" sldId="267"/>
            <ac:picMk id="2" creationId="{68863465-A727-7310-58C7-5CA0CDD763A6}"/>
          </ac:picMkLst>
        </pc:picChg>
        <pc:picChg chg="add mod ord">
          <ac:chgData name="Mcmiller ii, Eric [GTSUS]" userId="76fc7ec3-6c48-4501-90b8-fa231d96bb7f" providerId="ADAL" clId="{7050B2FF-4B8D-4C8A-8399-F391EC0903A9}" dt="2024-08-20T13:39:25.590" v="1201" actId="26606"/>
          <ac:picMkLst>
            <pc:docMk/>
            <pc:sldMk cId="1757017285" sldId="267"/>
            <ac:picMk id="3" creationId="{2ECB3FA7-1223-415B-CFD7-AB85EE3FA09A}"/>
          </ac:picMkLst>
        </pc:picChg>
        <pc:picChg chg="del">
          <ac:chgData name="Mcmiller ii, Eric [GTSUS]" userId="76fc7ec3-6c48-4501-90b8-fa231d96bb7f" providerId="ADAL" clId="{7050B2FF-4B8D-4C8A-8399-F391EC0903A9}" dt="2024-08-20T13:38:13.739" v="1177" actId="478"/>
          <ac:picMkLst>
            <pc:docMk/>
            <pc:sldMk cId="1757017285" sldId="267"/>
            <ac:picMk id="5" creationId="{B1A7301B-1C5A-4716-093C-0C8FD7FB204E}"/>
          </ac:picMkLst>
        </pc:picChg>
        <pc:picChg chg="add mod ord">
          <ac:chgData name="Mcmiller ii, Eric [GTSUS]" userId="76fc7ec3-6c48-4501-90b8-fa231d96bb7f" providerId="ADAL" clId="{7050B2FF-4B8D-4C8A-8399-F391EC0903A9}" dt="2024-08-20T13:39:25.590" v="1201" actId="26606"/>
          <ac:picMkLst>
            <pc:docMk/>
            <pc:sldMk cId="1757017285" sldId="267"/>
            <ac:picMk id="6" creationId="{D075BCCF-C718-FE9A-C370-870407CEFF79}"/>
          </ac:picMkLst>
        </pc:picChg>
        <pc:picChg chg="add mod">
          <ac:chgData name="Mcmiller ii, Eric [GTSUS]" userId="76fc7ec3-6c48-4501-90b8-fa231d96bb7f" providerId="ADAL" clId="{7050B2FF-4B8D-4C8A-8399-F391EC0903A9}" dt="2024-08-20T13:39:25.590" v="1201" actId="26606"/>
          <ac:picMkLst>
            <pc:docMk/>
            <pc:sldMk cId="1757017285" sldId="267"/>
            <ac:picMk id="7" creationId="{873BCB96-50D0-CDE6-12C0-B81210B4337F}"/>
          </ac:picMkLst>
        </pc:picChg>
        <pc:picChg chg="add mod">
          <ac:chgData name="Mcmiller ii, Eric [GTSUS]" userId="76fc7ec3-6c48-4501-90b8-fa231d96bb7f" providerId="ADAL" clId="{7050B2FF-4B8D-4C8A-8399-F391EC0903A9}" dt="2024-08-20T13:39:25.590" v="1201" actId="26606"/>
          <ac:picMkLst>
            <pc:docMk/>
            <pc:sldMk cId="1757017285" sldId="267"/>
            <ac:picMk id="8" creationId="{1397BF96-A159-170A-DD28-27E6580E8D59}"/>
          </ac:picMkLst>
        </pc:picChg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8-14T15:08:59.493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5562,'1'-5,"-1"0,1 0,0 0,1 0,-1 0,1 1,0-1,0 1,1-1,5-7,37-45,-24 32,-7 6,12-11,-3-1,0-1,-2-1,-2-1,23-53,-36 69,10-21,-2 0,-2-1,-1 0,-2 0,-2-1,2-57,-12 1,1 57,1 1,1-1,9-48,1 47,2 0,30-66,-8 21,39-105,-63 162,-2 0,0-1,6-52,-6 31,3-36,-4 1,-5-94,-3 102,3 0,23-148,29 22,9-49,-41 149,-10 58,5-54,-13 70,15-48,-12 54,-2 0,0 0,3-38,-8 16,1-10,10-73,0 28,-9 67,2 0,13-55,-15 83,17-59,-2 0,-3 0,8-104,-27 243,-3-1,-4 1,-28 100,-86 211,100-312,12-28,2 0,2 1,2 0,2 1,2-1,2 1,4 48,-2 77,-1-82,10 98,24-27,-23-119,0 0,-3 0,3 61,-11 30,-1-40,18 169,-11-230,-2 0,0 49,-4-69,0 0,0 0,-1 0,-1 0,0 0,-1-1,0 1,-1-1,0 0,-7 11,-36 41,33-44,1 0,-20 34,34-53,-1 1,1-1,0 0,0 0,-1 0,1 1,0-1,0 0,0 0,-1 1,1-1,0 0,0 0,0 1,0-1,-1 0,1 1,0-1,0 0,0 1,0-1,0 0,0 0,0 1,0-1,0 0,0 1,0-1,0 0,0 1,0-1,1 0,-1 1,0-1,0 0,0 0,0 1,0-1,1 0,-1 0,0 1,0-1,0 0,1 0,-1 0,0 1,1-1,17-7,21-19,-7-4,-2-1,0-2,-3 0,0-2,-3-1,0-1,-3-1,28-68,-40 88,-1 0,-1 0,-1-1,0 0,-2 0,0-1,-1 1,0-24,-10-185,4 193,-2-1,-2 1,-1 0,-18-47,14 53,1 3,1 0,1 0,1-1,2 0,0 0,-1-36,7-297,1 149,-18 6,8 126,-14-634,24 552,-1 155,0 1,0-1,1 0,0 1,0-1,0 1,0-1,1 1,0 0,1-1,-1 1,1 0,0 1,0-1,0 0,0 1,1-1,0 1,0 0,9-6,-5 5,1 0,-1 1,1 0,0 0,0 1,1 1,-1-1,1 1,-1 1,1 0,14 0,391 2,-143 2,590-3,-716 11,-14 1,209-1,260 4,1569-16,-1963-11,11-1,-105 13,301 16,-267-6,149-9,-135-3,-101-1,1-3,65-14,-18 1,-14-4,-74 16,1 2,0 0,41-4,-6 4,1-2,-2-2,87-27,-57 9,124-60,-71 17,61-28,-160 82,2 1,0 2,51-9,315-53,-390 72,0-2,-1 0,0 0,0-2,0 0,15-10,88-62,-48 29,16-3,168-75,-210 112,0 2,1 2,94-11,47-12,10-27,73-18,-244 75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6-11T14:12:55.15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9427 1,'0'1095,"-13"-935,2-41,11-113,-1 0,1 0,-1 0,-1 0,1 0,-1 0,0 0,0 0,-1 0,0-1,0 1,0-1,-5 7,-13 16,13-16,-1-1,0 1,0-2,-12 10,-8 5,1 0,-37 44,58-61,-1-1,0 1,-1-2,0 1,0-1,0 0,-16 6,-23 15,-30 28,-129 117,180-151,0 0,-1-2,-46 25,44-29,2 2,0 1,2 2,-28 24,37-27,-160 149,117-113,-71 46,-241 178,294-213,-4-4,-116 65,-40 6,199-112,17-8,-32 19,37-20,0 0,0-2,-1 0,0-1,-1 0,1-2,-1 0,0-1,-23 1,-22-1,-93-6,44-1,-1207 4,1314-1,0-1,1 1,-1-1,0 0,1 0,-1 0,1-1,0 0,-1 0,1-1,-9-5,5 2,1-1,1 0,-1 0,1 0,-10-16,-2 0,-27-26,-16-18,45 44,0-1,2 0,1-2,0 1,-9-29,12 29,-1 2,-24-37,21 37,1 0,-17-41,26 54,-1 0,1 1,-2 0,1 0,-1 0,-1 1,1 0,-1 0,-17-12,12 10,1-1,0 0,-17-23,11 9,-1 1,0 0,-2 1,-1 1,-40-31,-83-40,116 77,-1 1,-1 1,-39-11,-292-74,335 90,0-2,1-1,1-1,-29-19,-30-15,-49-12,-160-46,114 44,-200-51,320 95,0-3,-83-40,117 49,0 1,-1 2,0 0,-1 2,-53-6,-138 6,177 7,-817-1,734 4,1 6,-1 5,-171 44,288-57,-1 0,1 0,-1 1,1 0,0 0,-7 4,12-5,0-1,0 1,0 0,0-1,0 1,1 0,-1 0,1 1,-1-1,1 0,0 0,-1 1,1-1,0 0,1 1,-1-1,0 1,1 0,0-1,-1 5,1 20,2 0,4 32,3 25,-9-64,2 12,-2 1,-1-1,-1 1,-7 33,3-32,-3 49,7-52,-1 1,-9 35,-3-12,2-11,2-1,2 2,2-1,-2 59,12 1427,-2-1511,0-1,0 0,2 0,0 0,2 0,-1 0,2-1,1 1,0-1,1-1,0 0,2 0,0-1,16 20,17 18,-17-23,-2 1,-1 1,34 63,-52-86,0 0,0-1,1 1,1-1,-1-1,1 1,0-1,1-1,0 1,13 7,11 6,51 22,-49-26,-8-4,0-2,1-1,0-1,0-2,51 6,-48-6,-1 1,1 2,-2 0,42 21,-41-17,1-1,0-2,58 13,-8-11,74 12,-124-16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6-11T14:12:57.62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26 1,'0'0,"-1"0,0 0,1 0,-1 1,0-1,1 0,-1 0,0 1,1-1,-1 0,1 1,-1-1,1 0,-1 1,1-1,-1 1,1-1,-1 1,1-1,-1 1,1 0,0-1,-1 1,1-1,0 1,0 0,-1 0,-3 22,3-21,-4 73,3 80,3-87,1-20,2 1,2 0,2-1,24 79,82 180,-103-279,6 15,-13-28,1-1,1-1,0 1,1-1,0 0,1 0,1-1,10 12,-8-11,-1 1,0 0,0 0,8 21,-9-19,-1-1,2 0,0 0,13 14,35 31,74 82,-117-127,0 0,26 19,-25-21,0 0,25 28,-25-23,1-1,0-1,2 0,38 25,51 41,12 8,-112-83,0 0,0 0,0 1,-1 0,0 0,-1 1,0 0,0 0,-1 0,0 1,6 15,-4-9,1 0,1 0,11 15,-14-25,0 0,1 0,0 0,0-1,11 7,15 11,30 36,17 14,-70-64,1-1,1-1,-1 0,1 0,21 8,-10-8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6-11T14:13:00.083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2246 1,'-1'1,"0"1,1 0,-1 0,0-1,0 1,0-1,0 1,0-1,0 1,-1-1,1 1,0-1,-1 0,-1 1,-5 6,-195 200,127-132,-22 36,10-11,-254 270,321-347,-2 0,-1-2,-1 0,-54 35,27-23,-73 62,95-72,-1-2,-1 0,-1-2,-1-2,-67 27,44-22,2 2,0 3,-50 34,81-47,0-1,-1-2,-33 13,-81 20,74-25,-79 31,92-28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8-14T15:09:02.560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6011 149,'-1158'0,"1119"-3,1-1,0-2,-44-12,-28-5,-26 9,0 5,-143 10,146 1,-1144-1,1231-3,-49-9,-40-1,87 10,0-1,-70-15,1 3,1 5,-205 7,192 5,-331-1,450 0,0 0,0 1,0 0,0 1,0 0,1 0,-1 1,1 0,-17 11,-8 7,-35 29,55-40,-31 24,-94 55,85-59,1 2,-88 73,123-92,-1-2,0 0,0-1,-41 16,-1 1,-19 12,67-33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8-21T16:24:52.498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5'0,"2"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6-06T20:13:41.66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35'1,"0"2,0 2,-1 1,59 19,-51-13,608 209,-381-122,557 164,-550-180,-238-72,98 34,-110-35,0 1,46 29,-58-30,-1 2,-1-1,0 2,0 0,-1 0,-1 1,0 0,8 18,-6-12,0-1,2-1,0 0,18 18,59 40,10 8,-87-70,0 1,-1 0,-1 1,18 30,-4 6,29 80,-5-9,-20-61,19 48,-43-96,-2 1,0 0,-1 1,0-1,1 28,-4-25,1-11,0-1,-1 1,0 0,0-1,-1 1,1 0,-1-1,-1 1,-4 12,-3-13,-2-6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6-06T20:13:45.81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516 0,'0'38,"5"38,-2-60,0 0,1 0,0-1,1 1,8 14,17 36,3-3,3 0,2-2,3-2,68 74,-74-93,-1 1,-1 2,27 50,-19-21,39 99,8 56,-71-173,-1 2,9 71,-18-83,1 0,2 0,2-1,19 44,39 74,59 147,-99-225,35 156,-39-133,-16-67,-1 0,8 71,-17-103,3 52,2 0,18 84,0-51,63 163,-73-226,-1 0,-1 1,-2 0,-1 0,-1 1,4 56,-10-52,12 128,-6-95,-2 89,1 15,10 202,-15-342,3 1,0-1,3 0,0 0,14 35,-5-15,-14-44,0 0,0 0,-1 0,0 1,0 14,-1-20,0-1,-1 1,1-1,-1 1,1-1,-1 0,0 1,0-1,0 0,0 1,0-1,0 0,-1 0,1 0,-1 0,1 0,-1 0,0 0,0-1,0 1,0-1,0 1,-3 1,-16 5,1-1,-40 9,-19 7,60-16,0-1,-1-1,1-1,-1 0,0-1,-38 0,-535-6,567 5,0 1,0 1,0 2,-31 10,-26 5,-8-6,-101 2,146-14,-412 5,448-8,12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6-06T20:13:49.375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701 190,'-616'-40,"285"11,302 27,3 1,0-1,0-2,-37-9,-1-7,25 6,0 3,-1 1,-65-8,16 6,56 7,-47-3,15 8,36 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6-06T20:14:33.43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1150 7677,'-1'11,"0"1,-1-1,-1 0,0 0,-9 22,-2 9,2-6,-1 0,-2-1,-1-1,-2 0,-1-1,-1-1,-2-1,-34 37,27-36,-53 47,69-68,-1-1,0 0,0-1,-1-1,0 0,0-1,-20 6,-32 3,-90 11,46-9,22 0,0 3,-100 40,-109 40,211-78,-133 19,195-38,-20 1,1 2,-66 19,41-1,40-14,0 0,-1-2,-1-1,1-2,-40 4,-190-7,-115 8,-170 0,344-13,-683 2,839-2,1-1,0-2,1-3,-1-1,1-2,1-2,0-1,-63-33,-295-116,371 153,-19-6,0-2,1-2,-69-40,-103-64,141 83,1-3,-98-75,118 72,-138-106,159 127,1-1,1-2,2-2,-40-48,-56-77,-22-28,120 141,1-1,-36-73,-21-95,-13-28,-76-65,36 67,122 208,-3 0,0 1,-2 1,-33-33,-114-94,159 146,-552-415,-38 50,381 249,62 39,-148-85,278 153,22 13,0 2,-1-1,1 1,-1-1,0 2,0-1,0 1,0-1,0 2,-9-3,-56 0,-88 4,73 2,-235-1,304-3,-1 1,1-2,0-1,1 0,-1-1,1 0,-25-13,35 15,1 0,-1-1,1 1,0-1,0-1,0 1,1-1,-1 0,1 0,-4-7,-3-6,-16-36,6 9,-111-245,39 78,76 173,2-1,2 0,1-1,2-1,-5-54,-4-210,19 283,-2-54,-15-106,4 101,4 0,2-87,7 52,5-263,28 3,-30 362,1 1,0-1,1 1,0-1,1 2,10-17,53-74,-27 45,140-225,-170 264,-2 0,17-43,-18 37,18-30,89-177,-104 210,1 0,30-39,-12 18,217-296,-227 313,0 1,29-49,-45 66,-1 1,0-1,0 0,-1 0,0-1,-1 1,0-1,0 1,-1-1,0-14,-2 0,-1 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6-06T20:15:52.176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4089 154,'1'-15,"-1"7,0 1,0-1,-1 0,1 1,-3-8,2 13,0-1,1 1,-1 0,0 0,-1 0,1 0,0 0,0 0,-1 1,1-1,-1 0,0 1,1-1,-1 1,0-1,0 1,0 0,0 0,0 0,0 0,-3-1,-8-1,0 0,0 0,-1 2,1 0,0 0,0 1,-16 2,-101 18,78-10,-835 171,700-140,-280 71,436-101,-53 24,0 1,-190 41,200-59,-494 91,551-106,0-1,0-1,-34-2,42 0,0 0,-1-1,1-1,0 1,0-2,0 1,1-1,-15-8,-12-13,1-1,1-2,1-1,2-2,1 0,-36-51,42 55,-1 2,-1 1,-1 0,-48-32,62 48,-112-91,106 87,-1 1,0 1,0 0,-22-6,-6-4,-71-30,71 33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6-06T20:16:38.933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1'5,"0"1,1-1,-1 0,1 1,1-1,-1 0,1 0,0 0,0-1,0 1,7 6,-1 1,111 132,14 17,-88-92,-30-43,1-1,0 0,2-1,1-1,29 25,192 130,-104-85,218 135,-286-186,42 23,-97-59,1-1,-1-1,1 0,28 3,18 4,4 5,1-4,0-2,103 2,620-11,-361-3,326 2,-713 0,-1 2,1 2,-1 1,0 2,-1 2,0 2,0 1,-1 2,-1 2,42 24,-59-28,16 8,69 30,322 107,-394-143,-1 1,0 1,-2 2,32 24,44 26,121 63,-167-99,78 30,18 7,-96-37,88 44,-112-61,0 0,47 11,-72-23,0 1,0 0,-1 0,1 1,-1 1,0 0,0 0,-1 1,0 0,0 1,0-1,-1 2,-1-1,8 11,-1 1,-2 1,0 1,-1 0,-1 0,11 38,-6-16,2-2,2 0,2-1,45 68,-56-93,0 0,-1 1,0 0,-2 0,0 1,-1 0,-1 1,0-1,2 29,2 6,2 37,-11-7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147235-89AA-4017-89A6-B328A2A36B7D}" type="datetimeFigureOut">
              <a:rPr lang="en-US" smtClean="0"/>
              <a:t>21-Aug-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FDF2D1-03DD-45EA-9D74-68C63B33824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1337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AD3472-A1FD-482A-88CB-FF618AF6107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33898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FDF2D1-03DD-45EA-9D74-68C63B33824E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89584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024 Map (1.55 miles)</a:t>
            </a:r>
          </a:p>
          <a:p>
            <a:pPr marL="171450" indent="-171450">
              <a:buFontTx/>
              <a:buChar char="-"/>
            </a:pPr>
            <a:r>
              <a:rPr lang="en-US" b="1" dirty="0"/>
              <a:t>Parking lot at HLZ [1] is not for parking! Helicopter will be landing there!</a:t>
            </a:r>
          </a:p>
          <a:p>
            <a:pPr marL="171450" indent="-171450">
              <a:buFontTx/>
              <a:buChar char="-"/>
            </a:pPr>
            <a:r>
              <a:rPr lang="en-US" b="1" dirty="0"/>
              <a:t>After 8:30am all routes into site will be closed except TCP N entrance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633983-5AE9-4DE7-B4A9-75E9A21B27B8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28883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*All 1 Mile Runners/Ruck will do only 1 lap around the course. 5K Runners/Rucks will do 2 laps.*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FDF2D1-03DD-45EA-9D74-68C63B33824E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4396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9B9946-A5A7-CF28-8D4F-1FAF5AA369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E69EB4-B76A-F4D9-1DA3-5160618015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269DB8-AC0D-5C1B-8AE9-EA9D95E7BD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24F983-0940-4AA7-ACC9-E47E4ABE21AC}" type="datetimeFigureOut">
              <a:rPr lang="en-US" smtClean="0"/>
              <a:t>21-Aug-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6823C1-26DE-21B7-34CC-FBD8668A4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77A52-B6F1-0B17-85DA-1255A03C3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34E042-6848-4E63-80CB-8BE48F98B8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5661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8C2A47-DBCD-CD07-8F90-2973EA2469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81F60CE-869C-E0D4-3531-F4BB2E4AB5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D6B45F-2E55-6D13-C680-7F14DD8B20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24F983-0940-4AA7-ACC9-E47E4ABE21AC}" type="datetimeFigureOut">
              <a:rPr lang="en-US" smtClean="0"/>
              <a:t>21-Aug-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AC75E-66C4-8F4C-6B68-14F7FB29F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27C902-D436-9AE6-CE96-09AF8AD8E7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34E042-6848-4E63-80CB-8BE48F98B8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7757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4A9DB5A-F98B-9671-EF4C-7B67B8CEDDD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3D6C2F-8E62-BF28-F5AD-77E453861F1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D9E4F9-2296-0E57-5DC6-EBE10507C5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24F983-0940-4AA7-ACC9-E47E4ABE21AC}" type="datetimeFigureOut">
              <a:rPr lang="en-US" smtClean="0"/>
              <a:t>21-Aug-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4228DF-B0FC-5D5D-4556-22E47CC09D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116F90-4ABE-3D95-90A3-91D8B4383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34E042-6848-4E63-80CB-8BE48F98B8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6180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F29528-192D-98E5-12EA-59902A0DD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507AAD-B389-E97F-AE11-2FD944C429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118019-A0BD-20A9-F941-F9E373D94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24F983-0940-4AA7-ACC9-E47E4ABE21AC}" type="datetimeFigureOut">
              <a:rPr lang="en-US" smtClean="0"/>
              <a:t>21-Aug-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C8C17A-0D31-A0B4-FB5F-B0F0C46E1A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9A5A56-2BE5-2C73-08CB-425B9AF04B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34E042-6848-4E63-80CB-8BE48F98B8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632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55914F-1E22-448C-3E3C-EAC68F3EF1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C90ACF-8B5A-DF43-A1A5-0471814AEA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476F95-770F-E847-541C-5637C789B5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24F983-0940-4AA7-ACC9-E47E4ABE21AC}" type="datetimeFigureOut">
              <a:rPr lang="en-US" smtClean="0"/>
              <a:t>21-Aug-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F3C083-0544-716E-B277-B789551E80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13EB23-2E4C-CAA3-DC44-8181038039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34E042-6848-4E63-80CB-8BE48F98B8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81392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762401-97EF-885C-F511-7AE38C5806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F24D2A-2C04-08DC-8372-4EF56E4B370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515B03F-D78E-0C96-F17C-C51EE690FA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65FA68B-47C0-5D8D-949E-AC2377D619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24F983-0940-4AA7-ACC9-E47E4ABE21AC}" type="datetimeFigureOut">
              <a:rPr lang="en-US" smtClean="0"/>
              <a:t>21-Aug-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209D69-9C21-1008-AAB9-8F0E942E43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348550-42CA-AF79-C7A2-10D888D020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34E042-6848-4E63-80CB-8BE48F98B8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1293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D15A0-81F8-4FF5-D59E-5AC571103F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27DC40-78E0-67AA-CCFC-9AA94305E7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331563E-792E-4069-2A85-FBECF7F68E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FC0E338-C2ED-C546-97D2-AA21E0C00E5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D69848-E871-0DF4-A0D1-D24BE1A14A7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78DA958-381E-D06B-CDDE-51EFD1D2D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24F983-0940-4AA7-ACC9-E47E4ABE21AC}" type="datetimeFigureOut">
              <a:rPr lang="en-US" smtClean="0"/>
              <a:t>21-Aug-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2D5F456-C777-AE48-5102-E87A156C4F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AC05BD4-C7F5-DEEB-A385-B79201B081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34E042-6848-4E63-80CB-8BE48F98B8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03422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1121BF-777A-030C-77FA-53597DBA9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F33D04-342D-F7DD-B78D-AFB7E356D9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24F983-0940-4AA7-ACC9-E47E4ABE21AC}" type="datetimeFigureOut">
              <a:rPr lang="en-US" smtClean="0"/>
              <a:t>21-Aug-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D767121-67B9-FC7F-6FC6-B3AF34644E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904D64-E257-CF4C-85B8-9FA001508B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34E042-6848-4E63-80CB-8BE48F98B8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10264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11DE935-F2C2-EB59-A88D-BEC9977A97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24F983-0940-4AA7-ACC9-E47E4ABE21AC}" type="datetimeFigureOut">
              <a:rPr lang="en-US" smtClean="0"/>
              <a:t>21-Aug-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E03490-5107-C81E-105F-8E8C0DE0AC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242C2B-CE05-6C08-2009-D32745AE3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34E042-6848-4E63-80CB-8BE48F98B8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2367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CD5C01-B103-D8FA-7936-0DC4E52546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B261CD-63ED-549B-0D26-99FAE2E869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D21487-524C-7FCA-1F4C-C5B1BEBF14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5E502F-63EB-985D-75C2-1646954E00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24F983-0940-4AA7-ACC9-E47E4ABE21AC}" type="datetimeFigureOut">
              <a:rPr lang="en-US" smtClean="0"/>
              <a:t>21-Aug-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2C1DD0F-484A-FC08-041C-CE7CE5AF7C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5FED04-4150-8070-14CB-8845608A94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34E042-6848-4E63-80CB-8BE48F98B8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1548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408D73-F948-ED63-2367-14302BDCA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F41303C-6205-2F89-D827-BFC409FEED3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40AFC41-4DC0-3AFF-9AE7-2564E0C085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85FED4C-67C8-53C9-EDC8-555B8CCF77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24F983-0940-4AA7-ACC9-E47E4ABE21AC}" type="datetimeFigureOut">
              <a:rPr lang="en-US" smtClean="0"/>
              <a:t>21-Aug-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99134D-B47F-8DA8-0AE6-8A62C7E164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71683F3-FE14-CD65-7816-3ADFA3A283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34E042-6848-4E63-80CB-8BE48F98B8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1713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534CAB5D-1883-FBAF-DB7C-7434F56E6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16502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6" progId="TCLayout.ActiveDocument.1">
                  <p:embed/>
                </p:oleObj>
              </mc:Choice>
              <mc:Fallback>
                <p:oleObj name="think-cell Slide" r:id="rId14" imgW="473" imgH="47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4CAB5D-1883-FBAF-DB7C-7434F56E6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276DC38-8CF3-8334-298A-9E9D3F350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FB3C1C-8E62-710D-BB56-BB4C2485D6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F96689-535C-C67C-0A5F-AAD44C5B586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24F983-0940-4AA7-ACC9-E47E4ABE21AC}" type="datetimeFigureOut">
              <a:rPr lang="en-US" smtClean="0"/>
              <a:t>21-Aug-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6F56C0-B959-D55E-15CD-CE53CFEF9C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A5DFB7-33D6-8967-ED81-D62B025E60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34E042-6848-4E63-80CB-8BE48F98B8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508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acebook.com/people/911-Heroes-Run-RaritanBridgewater/100083652535275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customXml" Target="../ink/ink4.xml"/><Relationship Id="rId18" Type="http://schemas.openxmlformats.org/officeDocument/2006/relationships/image" Target="../media/image8.png"/><Relationship Id="rId26" Type="http://schemas.openxmlformats.org/officeDocument/2006/relationships/image" Target="../media/image12.png"/><Relationship Id="rId3" Type="http://schemas.openxmlformats.org/officeDocument/2006/relationships/notesSlide" Target="../notesSlides/notesSlide3.xml"/><Relationship Id="rId21" Type="http://schemas.openxmlformats.org/officeDocument/2006/relationships/customXml" Target="../ink/ink8.xml"/><Relationship Id="rId7" Type="http://schemas.openxmlformats.org/officeDocument/2006/relationships/customXml" Target="../ink/ink1.xml"/><Relationship Id="rId12" Type="http://schemas.openxmlformats.org/officeDocument/2006/relationships/image" Target="../media/image50.png"/><Relationship Id="rId17" Type="http://schemas.openxmlformats.org/officeDocument/2006/relationships/customXml" Target="../ink/ink6.xml"/><Relationship Id="rId25" Type="http://schemas.openxmlformats.org/officeDocument/2006/relationships/customXml" Target="../ink/ink10.xml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7.png"/><Relationship Id="rId20" Type="http://schemas.openxmlformats.org/officeDocument/2006/relationships/image" Target="../media/image9.png"/><Relationship Id="rId29" Type="http://schemas.openxmlformats.org/officeDocument/2006/relationships/customXml" Target="../ink/ink12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11" Type="http://schemas.openxmlformats.org/officeDocument/2006/relationships/customXml" Target="../ink/ink3.xml"/><Relationship Id="rId24" Type="http://schemas.openxmlformats.org/officeDocument/2006/relationships/image" Target="../media/image11.png"/><Relationship Id="rId5" Type="http://schemas.openxmlformats.org/officeDocument/2006/relationships/image" Target="../media/image1.emf"/><Relationship Id="rId15" Type="http://schemas.openxmlformats.org/officeDocument/2006/relationships/customXml" Target="../ink/ink5.xml"/><Relationship Id="rId23" Type="http://schemas.openxmlformats.org/officeDocument/2006/relationships/customXml" Target="../ink/ink9.xml"/><Relationship Id="rId28" Type="http://schemas.openxmlformats.org/officeDocument/2006/relationships/image" Target="../media/image13.png"/><Relationship Id="rId10" Type="http://schemas.openxmlformats.org/officeDocument/2006/relationships/image" Target="../media/image40.png"/><Relationship Id="rId19" Type="http://schemas.openxmlformats.org/officeDocument/2006/relationships/customXml" Target="../ink/ink7.xml"/><Relationship Id="rId4" Type="http://schemas.openxmlformats.org/officeDocument/2006/relationships/oleObject" Target="../embeddings/oleObject3.bin"/><Relationship Id="rId9" Type="http://schemas.openxmlformats.org/officeDocument/2006/relationships/customXml" Target="../ink/ink2.xml"/><Relationship Id="rId14" Type="http://schemas.openxmlformats.org/officeDocument/2006/relationships/image" Target="../media/image6.png"/><Relationship Id="rId22" Type="http://schemas.openxmlformats.org/officeDocument/2006/relationships/image" Target="../media/image10.png"/><Relationship Id="rId27" Type="http://schemas.openxmlformats.org/officeDocument/2006/relationships/customXml" Target="../ink/ink11.xml"/><Relationship Id="rId30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s://www.homescnj.org/" TargetMode="Externa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A70F3B74-B4B6-0693-EFD6-FACCDFD316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4241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0F3B74-B4B6-0693-EFD6-FACCDFD316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7" name="Rectangle 9">
            <a:extLst>
              <a:ext uri="{FF2B5EF4-FFF2-40B4-BE49-F238E27FC236}">
                <a16:creationId xmlns:a16="http://schemas.microsoft.com/office/drawing/2014/main" id="{A2679492-7988-4050-9056-5424444524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525637-3C61-C56A-3BED-65588C4175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250826"/>
            <a:ext cx="5004842" cy="1716255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56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Race Day </a:t>
            </a:r>
            <a:br>
              <a:rPr lang="en-US" sz="56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 sz="56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Agenda</a:t>
            </a: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B091B163-7D61-4891-ABCF-5C13D9C418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779911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DC5BEC-EF56-075A-539B-7C1D956A5E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91352" y="2217906"/>
            <a:ext cx="5525581" cy="4138443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600" dirty="0">
                <a:solidFill>
                  <a:schemeClr val="tx1">
                    <a:alpha val="80000"/>
                  </a:schemeClr>
                </a:solidFill>
                <a:effectLst/>
              </a:rPr>
              <a:t> </a:t>
            </a:r>
            <a:endParaRPr lang="en-US" sz="2400" dirty="0">
              <a:solidFill>
                <a:schemeClr val="tx1">
                  <a:alpha val="80000"/>
                </a:schemeClr>
              </a:solidFill>
              <a:effectLst/>
            </a:endParaRPr>
          </a:p>
          <a:p>
            <a:pPr marL="114300" marR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tx1">
                    <a:alpha val="80000"/>
                  </a:schemeClr>
                </a:solidFill>
                <a:effectLst/>
              </a:rPr>
              <a:t>Volunteer Arrival		7:00 AM</a:t>
            </a:r>
          </a:p>
          <a:p>
            <a:pPr marL="114300" marR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tx1">
                    <a:alpha val="80000"/>
                  </a:schemeClr>
                </a:solidFill>
                <a:effectLst/>
              </a:rPr>
              <a:t>Bib/Packet Distribution 	7:30-8:30 AM </a:t>
            </a:r>
          </a:p>
          <a:p>
            <a:pPr marL="114300" marR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tx1">
                    <a:alpha val="80000"/>
                  </a:schemeClr>
                </a:solidFill>
                <a:effectLst/>
              </a:rPr>
              <a:t>Welcome			8:30 AM  </a:t>
            </a:r>
          </a:p>
          <a:p>
            <a:pPr marL="114300" marR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tx1">
                    <a:alpha val="80000"/>
                  </a:schemeClr>
                </a:solidFill>
                <a:effectLst/>
              </a:rPr>
              <a:t>Pledge			8:35 AM</a:t>
            </a:r>
          </a:p>
          <a:p>
            <a:pPr marL="114300" marR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tx1">
                    <a:alpha val="80000"/>
                  </a:schemeClr>
                </a:solidFill>
                <a:effectLst/>
              </a:rPr>
              <a:t>Star Spangled Banner 	8:40 AM</a:t>
            </a:r>
          </a:p>
          <a:p>
            <a:pPr marL="114300" marR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tx1">
                    <a:alpha val="80000"/>
                  </a:schemeClr>
                </a:solidFill>
                <a:effectLst/>
              </a:rPr>
              <a:t>Race Start			9:00 AM</a:t>
            </a:r>
          </a:p>
          <a:p>
            <a:pPr marL="114300" marR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tx1">
                    <a:alpha val="80000"/>
                  </a:schemeClr>
                </a:solidFill>
                <a:effectLst/>
              </a:rPr>
              <a:t>Race Awards Ceremony	10:15 AM</a:t>
            </a:r>
          </a:p>
          <a:p>
            <a:pPr marL="114300" marR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tx1">
                    <a:alpha val="80000"/>
                  </a:schemeClr>
                </a:solidFill>
                <a:effectLst/>
              </a:rPr>
              <a:t>K-9 Demo / Helicopter Tour	11:00 AM</a:t>
            </a:r>
          </a:p>
          <a:p>
            <a:pPr marL="114300" marR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tx1">
                    <a:alpha val="80000"/>
                  </a:schemeClr>
                </a:solidFill>
                <a:effectLst/>
              </a:rPr>
              <a:t>Close     			11:30 AM</a:t>
            </a:r>
          </a:p>
          <a:p>
            <a:endParaRPr lang="en-US" sz="1600" dirty="0">
              <a:solidFill>
                <a:schemeClr val="tx1">
                  <a:alpha val="80000"/>
                </a:schemeClr>
              </a:solidFill>
            </a:endParaRPr>
          </a:p>
        </p:txBody>
      </p:sp>
      <p:cxnSp>
        <p:nvCxnSpPr>
          <p:cNvPr id="9" name="Straight Connector 13">
            <a:extLst>
              <a:ext uri="{FF2B5EF4-FFF2-40B4-BE49-F238E27FC236}">
                <a16:creationId xmlns:a16="http://schemas.microsoft.com/office/drawing/2014/main" id="{C49DA8F6-BCC1-4447-B54C-57856834B9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1586162" y="3610394"/>
            <a:ext cx="0" cy="3238728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1470C083-A7E3-E26C-F098-8AB57C7B521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6333" y="538162"/>
            <a:ext cx="4391025" cy="578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7350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987668-E56D-7013-E421-A5F9FFC5B3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/>
              <a:t>IMPORTANT NO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0D55E4-9054-A049-158D-8C4A6FEF28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b="1" dirty="0"/>
              <a:t>All Entrances into site will be closed by 8:30am except for TCP N.</a:t>
            </a:r>
          </a:p>
          <a:p>
            <a:pPr marL="514350" indent="-514350">
              <a:buFont typeface="+mj-lt"/>
              <a:buAutoNum type="arabicPeriod"/>
            </a:pPr>
            <a:r>
              <a:rPr lang="en-US" b="1" dirty="0"/>
              <a:t>Parking lot at HLZ [1] is not for parking! Helicopter will be landing there! </a:t>
            </a:r>
          </a:p>
          <a:p>
            <a:pPr marL="514350" indent="-514350">
              <a:buFont typeface="+mj-lt"/>
              <a:buAutoNum type="arabicPeriod"/>
            </a:pPr>
            <a:r>
              <a:rPr lang="en-US" b="1" dirty="0"/>
              <a:t>NO Dogs are allowed on site</a:t>
            </a:r>
          </a:p>
          <a:p>
            <a:pPr marL="514350" indent="-514350">
              <a:buFont typeface="+mj-lt"/>
              <a:buAutoNum type="arabicPeriod"/>
            </a:pPr>
            <a:r>
              <a:rPr lang="en-US" b="1" dirty="0"/>
              <a:t>All 1 Mile Walkers will do only 1 lap around the course. 5K Runners/Ruckers will do 2 laps.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b="1" dirty="0"/>
              <a:t>If you want to change your event, let us know before the race!</a:t>
            </a:r>
          </a:p>
          <a:p>
            <a:pPr marL="514350" indent="-514350">
              <a:buFont typeface="+mj-lt"/>
              <a:buAutoNum type="arabicPeriod"/>
            </a:pPr>
            <a:r>
              <a:rPr lang="en-US" b="1" dirty="0"/>
              <a:t>Park only in designated Parking Zones!</a:t>
            </a:r>
          </a:p>
          <a:p>
            <a:pPr marL="514350" indent="-514350">
              <a:buFont typeface="+mj-lt"/>
              <a:buAutoNum type="arabicPeriod"/>
            </a:pPr>
            <a:r>
              <a:rPr lang="en-US" b="1" dirty="0"/>
              <a:t>Please bring at least 1 pair of NEW socks for the TMF Sock Drive</a:t>
            </a:r>
          </a:p>
          <a:p>
            <a:pPr marL="514350" indent="-514350">
              <a:buFont typeface="+mj-lt"/>
              <a:buAutoNum type="arabicPeriod"/>
            </a:pPr>
            <a:r>
              <a:rPr lang="en-US" b="1" dirty="0"/>
              <a:t>Have Fun!</a:t>
            </a:r>
          </a:p>
          <a:p>
            <a:pPr marL="514350" indent="-514350">
              <a:buFont typeface="+mj-lt"/>
              <a:buAutoNum type="arabicPeriod"/>
            </a:pPr>
            <a:r>
              <a:rPr lang="en-US" b="1" dirty="0"/>
              <a:t>In case of Delays or Cancellation, look to our </a:t>
            </a:r>
            <a:r>
              <a:rPr lang="en-US" b="1" dirty="0">
                <a:hlinkClick r:id="rId3"/>
              </a:rPr>
              <a:t>Facebook</a:t>
            </a:r>
            <a:r>
              <a:rPr lang="en-US" b="1" dirty="0"/>
              <a:t> page and your email inbox.</a:t>
            </a:r>
          </a:p>
        </p:txBody>
      </p:sp>
    </p:spTree>
    <p:extLst>
      <p:ext uri="{BB962C8B-B14F-4D97-AF65-F5344CB8AC3E}">
        <p14:creationId xmlns:p14="http://schemas.microsoft.com/office/powerpoint/2010/main" val="27899714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think-cell data - do not delete" hidden="1">
            <a:extLst>
              <a:ext uri="{FF2B5EF4-FFF2-40B4-BE49-F238E27FC236}">
                <a16:creationId xmlns:a16="http://schemas.microsoft.com/office/drawing/2014/main" id="{F66D8332-4FED-5566-E835-BD4F845B23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6D8332-4FED-5566-E835-BD4F845B23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EDD8CD7-8D31-1C20-F800-2A737D14469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E574B1-C078-22CE-3C10-02425ED0807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A77D26E-44A0-2F43-933A-D9FBC2117D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442" y="0"/>
            <a:ext cx="12093115" cy="6858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3B8A210A-DDE4-261D-4D68-C6130F3093FF}"/>
                  </a:ext>
                </a:extLst>
              </p14:cNvPr>
              <p14:cNvContentPartPr/>
              <p14:nvPr/>
            </p14:nvContentPartPr>
            <p14:xfrm>
              <a:off x="783497" y="671246"/>
              <a:ext cx="4049280" cy="2002680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3B8A210A-DDE4-261D-4D68-C6130F3093FF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29497" y="563246"/>
                <a:ext cx="4156920" cy="2218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0" name="Ink 9">
                <a:extLst>
                  <a:ext uri="{FF2B5EF4-FFF2-40B4-BE49-F238E27FC236}">
                    <a16:creationId xmlns:a16="http://schemas.microsoft.com/office/drawing/2014/main" id="{CA9966BC-EADA-47DB-1C6D-51FAD953D878}"/>
                  </a:ext>
                </a:extLst>
              </p14:cNvPr>
              <p14:cNvContentPartPr/>
              <p14:nvPr/>
            </p14:nvContentPartPr>
            <p14:xfrm>
              <a:off x="4027817" y="608246"/>
              <a:ext cx="2164320" cy="205560"/>
            </p14:xfrm>
          </p:contentPart>
        </mc:Choice>
        <mc:Fallback xmlns="">
          <p:pic>
            <p:nvPicPr>
              <p:cNvPr id="10" name="Ink 9">
                <a:extLst>
                  <a:ext uri="{FF2B5EF4-FFF2-40B4-BE49-F238E27FC236}">
                    <a16:creationId xmlns:a16="http://schemas.microsoft.com/office/drawing/2014/main" id="{CA9966BC-EADA-47DB-1C6D-51FAD953D878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3973817" y="500435"/>
                <a:ext cx="2271960" cy="420823"/>
              </a:xfrm>
              <a:prstGeom prst="rect">
                <a:avLst/>
              </a:prstGeom>
            </p:spPr>
          </p:pic>
        </mc:Fallback>
      </mc:AlternateContent>
      <p:sp>
        <p:nvSpPr>
          <p:cNvPr id="13" name="Arrow: Left 12">
            <a:extLst>
              <a:ext uri="{FF2B5EF4-FFF2-40B4-BE49-F238E27FC236}">
                <a16:creationId xmlns:a16="http://schemas.microsoft.com/office/drawing/2014/main" id="{44CC7048-91FC-7EEB-4D08-7B1774F27044}"/>
              </a:ext>
            </a:extLst>
          </p:cNvPr>
          <p:cNvSpPr/>
          <p:nvPr/>
        </p:nvSpPr>
        <p:spPr>
          <a:xfrm rot="21242273">
            <a:off x="7298717" y="5669798"/>
            <a:ext cx="574766" cy="139337"/>
          </a:xfrm>
          <a:prstGeom prst="lef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Arrow: Left 13">
            <a:extLst>
              <a:ext uri="{FF2B5EF4-FFF2-40B4-BE49-F238E27FC236}">
                <a16:creationId xmlns:a16="http://schemas.microsoft.com/office/drawing/2014/main" id="{084D0A79-7FB9-BC81-A09C-159444D056CC}"/>
              </a:ext>
            </a:extLst>
          </p:cNvPr>
          <p:cNvSpPr/>
          <p:nvPr/>
        </p:nvSpPr>
        <p:spPr>
          <a:xfrm rot="15972727">
            <a:off x="5271845" y="5266333"/>
            <a:ext cx="574766" cy="139337"/>
          </a:xfrm>
          <a:prstGeom prst="lef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Arrow: Left 14">
            <a:extLst>
              <a:ext uri="{FF2B5EF4-FFF2-40B4-BE49-F238E27FC236}">
                <a16:creationId xmlns:a16="http://schemas.microsoft.com/office/drawing/2014/main" id="{528BB941-A3A7-D777-A0E2-0552C3671E89}"/>
              </a:ext>
            </a:extLst>
          </p:cNvPr>
          <p:cNvSpPr/>
          <p:nvPr/>
        </p:nvSpPr>
        <p:spPr>
          <a:xfrm rot="2526125">
            <a:off x="1578584" y="5469900"/>
            <a:ext cx="574766" cy="139337"/>
          </a:xfrm>
          <a:prstGeom prst="lef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Arrow: Left 15">
            <a:extLst>
              <a:ext uri="{FF2B5EF4-FFF2-40B4-BE49-F238E27FC236}">
                <a16:creationId xmlns:a16="http://schemas.microsoft.com/office/drawing/2014/main" id="{92EA901B-61AA-1F3C-E8E1-E3DAD9793057}"/>
              </a:ext>
            </a:extLst>
          </p:cNvPr>
          <p:cNvSpPr/>
          <p:nvPr/>
        </p:nvSpPr>
        <p:spPr>
          <a:xfrm rot="5400000">
            <a:off x="513728" y="3563296"/>
            <a:ext cx="574766" cy="139337"/>
          </a:xfrm>
          <a:prstGeom prst="lef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Arrow: Left 19">
            <a:extLst>
              <a:ext uri="{FF2B5EF4-FFF2-40B4-BE49-F238E27FC236}">
                <a16:creationId xmlns:a16="http://schemas.microsoft.com/office/drawing/2014/main" id="{CA72C148-E88B-7AAE-D228-DF29383CE731}"/>
              </a:ext>
            </a:extLst>
          </p:cNvPr>
          <p:cNvSpPr/>
          <p:nvPr/>
        </p:nvSpPr>
        <p:spPr>
          <a:xfrm rot="5400000">
            <a:off x="985489" y="2104671"/>
            <a:ext cx="574766" cy="139337"/>
          </a:xfrm>
          <a:prstGeom prst="lef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Arrow: Left 20">
            <a:extLst>
              <a:ext uri="{FF2B5EF4-FFF2-40B4-BE49-F238E27FC236}">
                <a16:creationId xmlns:a16="http://schemas.microsoft.com/office/drawing/2014/main" id="{51F04DD1-ACE0-F77E-91D3-88290B94C2F6}"/>
              </a:ext>
            </a:extLst>
          </p:cNvPr>
          <p:cNvSpPr/>
          <p:nvPr/>
        </p:nvSpPr>
        <p:spPr>
          <a:xfrm rot="10628949">
            <a:off x="3038823" y="1156777"/>
            <a:ext cx="574766" cy="139337"/>
          </a:xfrm>
          <a:prstGeom prst="lef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Arrow: Left 21">
            <a:extLst>
              <a:ext uri="{FF2B5EF4-FFF2-40B4-BE49-F238E27FC236}">
                <a16:creationId xmlns:a16="http://schemas.microsoft.com/office/drawing/2014/main" id="{2EABE8B1-EE7E-7FEB-AEAD-B3984E76A9DF}"/>
              </a:ext>
            </a:extLst>
          </p:cNvPr>
          <p:cNvSpPr/>
          <p:nvPr/>
        </p:nvSpPr>
        <p:spPr>
          <a:xfrm rot="10800000">
            <a:off x="6664907" y="1243556"/>
            <a:ext cx="574766" cy="139337"/>
          </a:xfrm>
          <a:prstGeom prst="lef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Arrow: Left 22">
            <a:extLst>
              <a:ext uri="{FF2B5EF4-FFF2-40B4-BE49-F238E27FC236}">
                <a16:creationId xmlns:a16="http://schemas.microsoft.com/office/drawing/2014/main" id="{1832B3DE-6882-1188-0C93-A47B9EDB8CEE}"/>
              </a:ext>
            </a:extLst>
          </p:cNvPr>
          <p:cNvSpPr/>
          <p:nvPr/>
        </p:nvSpPr>
        <p:spPr>
          <a:xfrm rot="11594060">
            <a:off x="8949661" y="1832148"/>
            <a:ext cx="574766" cy="139337"/>
          </a:xfrm>
          <a:prstGeom prst="lef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205B5FC-B869-8018-DAB4-93F330385F9F}"/>
              </a:ext>
            </a:extLst>
          </p:cNvPr>
          <p:cNvSpPr/>
          <p:nvPr/>
        </p:nvSpPr>
        <p:spPr>
          <a:xfrm>
            <a:off x="1752276" y="1251467"/>
            <a:ext cx="1030251" cy="5031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</a:rPr>
              <a:t>Registration Tent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9871EF3-CDCB-93C4-564B-3368ECEFFE90}"/>
              </a:ext>
            </a:extLst>
          </p:cNvPr>
          <p:cNvSpPr txBox="1"/>
          <p:nvPr/>
        </p:nvSpPr>
        <p:spPr>
          <a:xfrm>
            <a:off x="1272872" y="1477801"/>
            <a:ext cx="5998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M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CA6A331-E06C-6A20-B0F1-0544C8B0D91D}"/>
              </a:ext>
            </a:extLst>
          </p:cNvPr>
          <p:cNvSpPr/>
          <p:nvPr/>
        </p:nvSpPr>
        <p:spPr>
          <a:xfrm rot="16406372">
            <a:off x="2023118" y="1608193"/>
            <a:ext cx="156170" cy="5370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921E691-E637-04C8-A347-409D2ECEC094}"/>
              </a:ext>
            </a:extLst>
          </p:cNvPr>
          <p:cNvSpPr txBox="1"/>
          <p:nvPr/>
        </p:nvSpPr>
        <p:spPr>
          <a:xfrm>
            <a:off x="1647855" y="1732310"/>
            <a:ext cx="99139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trooms</a:t>
            </a:r>
          </a:p>
        </p:txBody>
      </p:sp>
      <p:sp>
        <p:nvSpPr>
          <p:cNvPr id="30" name="Star: 5 Points 29">
            <a:extLst>
              <a:ext uri="{FF2B5EF4-FFF2-40B4-BE49-F238E27FC236}">
                <a16:creationId xmlns:a16="http://schemas.microsoft.com/office/drawing/2014/main" id="{085C65D6-0142-2C5E-D213-A8EE46F4A286}"/>
              </a:ext>
            </a:extLst>
          </p:cNvPr>
          <p:cNvSpPr/>
          <p:nvPr/>
        </p:nvSpPr>
        <p:spPr>
          <a:xfrm>
            <a:off x="6388731" y="-18545"/>
            <a:ext cx="256555" cy="292698"/>
          </a:xfrm>
          <a:prstGeom prst="star5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Star: 5 Points 30">
            <a:extLst>
              <a:ext uri="{FF2B5EF4-FFF2-40B4-BE49-F238E27FC236}">
                <a16:creationId xmlns:a16="http://schemas.microsoft.com/office/drawing/2014/main" id="{61086E4B-DBEE-2F2B-D8F1-77390A81E3FF}"/>
              </a:ext>
            </a:extLst>
          </p:cNvPr>
          <p:cNvSpPr/>
          <p:nvPr/>
        </p:nvSpPr>
        <p:spPr>
          <a:xfrm>
            <a:off x="707640" y="5344817"/>
            <a:ext cx="256555" cy="292698"/>
          </a:xfrm>
          <a:prstGeom prst="star5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Star: 5 Points 31">
            <a:extLst>
              <a:ext uri="{FF2B5EF4-FFF2-40B4-BE49-F238E27FC236}">
                <a16:creationId xmlns:a16="http://schemas.microsoft.com/office/drawing/2014/main" id="{1BD01F15-3F44-CB74-B722-9DA6E6CEA965}"/>
              </a:ext>
            </a:extLst>
          </p:cNvPr>
          <p:cNvSpPr/>
          <p:nvPr/>
        </p:nvSpPr>
        <p:spPr>
          <a:xfrm>
            <a:off x="6045252" y="6208320"/>
            <a:ext cx="256555" cy="292698"/>
          </a:xfrm>
          <a:prstGeom prst="star5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575085A-32E6-55EB-B1AB-E138750A3018}"/>
              </a:ext>
            </a:extLst>
          </p:cNvPr>
          <p:cNvSpPr/>
          <p:nvPr/>
        </p:nvSpPr>
        <p:spPr>
          <a:xfrm>
            <a:off x="4432457" y="844920"/>
            <a:ext cx="926010" cy="892587"/>
          </a:xfrm>
          <a:prstGeom prst="rect">
            <a:avLst/>
          </a:prstGeom>
          <a:solidFill>
            <a:srgbClr val="FFFF00">
              <a:alpha val="14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Overflow Parking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A68B498-E555-FD79-3BE3-815D467E26E8}"/>
              </a:ext>
            </a:extLst>
          </p:cNvPr>
          <p:cNvSpPr txBox="1"/>
          <p:nvPr/>
        </p:nvSpPr>
        <p:spPr>
          <a:xfrm>
            <a:off x="6113871" y="227845"/>
            <a:ext cx="110308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CP N / JnJ Security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BF493D8-68E9-C7DA-EB0E-0BC557991C7A}"/>
              </a:ext>
            </a:extLst>
          </p:cNvPr>
          <p:cNvSpPr txBox="1"/>
          <p:nvPr/>
        </p:nvSpPr>
        <p:spPr>
          <a:xfrm>
            <a:off x="5837187" y="5851338"/>
            <a:ext cx="110308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CP S / JnJ Security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5E25F98-EFAF-4901-79A7-4C09E5C5B532}"/>
              </a:ext>
            </a:extLst>
          </p:cNvPr>
          <p:cNvSpPr txBox="1"/>
          <p:nvPr/>
        </p:nvSpPr>
        <p:spPr>
          <a:xfrm>
            <a:off x="556279" y="4940492"/>
            <a:ext cx="119599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CP W / JnJ Security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3476275-1C3B-ED36-1195-39250F15584B}"/>
              </a:ext>
            </a:extLst>
          </p:cNvPr>
          <p:cNvSpPr/>
          <p:nvPr/>
        </p:nvSpPr>
        <p:spPr>
          <a:xfrm rot="5028873">
            <a:off x="9107585" y="3204584"/>
            <a:ext cx="668090" cy="4133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Water Station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54FE6C7B-48AC-EDC9-2BB9-380010117C0F}"/>
              </a:ext>
            </a:extLst>
          </p:cNvPr>
          <p:cNvSpPr/>
          <p:nvPr/>
        </p:nvSpPr>
        <p:spPr>
          <a:xfrm>
            <a:off x="1330139" y="4584665"/>
            <a:ext cx="85887" cy="77322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4197E18C-3610-7415-6F64-86B32F6D057B}"/>
              </a:ext>
            </a:extLst>
          </p:cNvPr>
          <p:cNvSpPr/>
          <p:nvPr/>
        </p:nvSpPr>
        <p:spPr>
          <a:xfrm>
            <a:off x="5075108" y="5129211"/>
            <a:ext cx="85887" cy="77322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54B64C10-044E-D088-A395-90D2230145A6}"/>
              </a:ext>
            </a:extLst>
          </p:cNvPr>
          <p:cNvSpPr/>
          <p:nvPr/>
        </p:nvSpPr>
        <p:spPr>
          <a:xfrm>
            <a:off x="6070927" y="763234"/>
            <a:ext cx="85887" cy="77322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1BE94F0B-7905-758A-D302-1FC7EDDED898}"/>
              </a:ext>
            </a:extLst>
          </p:cNvPr>
          <p:cNvSpPr/>
          <p:nvPr/>
        </p:nvSpPr>
        <p:spPr>
          <a:xfrm>
            <a:off x="8469422" y="2040463"/>
            <a:ext cx="85887" cy="77322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163345DA-8988-87F0-59DE-CB7174CFD1A6}"/>
              </a:ext>
            </a:extLst>
          </p:cNvPr>
          <p:cNvSpPr/>
          <p:nvPr/>
        </p:nvSpPr>
        <p:spPr>
          <a:xfrm>
            <a:off x="7811338" y="5882423"/>
            <a:ext cx="85887" cy="77322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4310262-BA05-A604-3190-4C81E38C2D7A}"/>
              </a:ext>
            </a:extLst>
          </p:cNvPr>
          <p:cNvSpPr txBox="1"/>
          <p:nvPr/>
        </p:nvSpPr>
        <p:spPr>
          <a:xfrm>
            <a:off x="8018038" y="5796954"/>
            <a:ext cx="283284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= Ground Marshall / Volunteer</a:t>
            </a:r>
          </a:p>
          <a:p>
            <a:endParaRPr lang="en-US" sz="11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US" sz="11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= Traffic Control Point (TCP)</a:t>
            </a:r>
          </a:p>
          <a:p>
            <a:endParaRPr lang="en-US" sz="11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US" sz="11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= Helicopter Landing Zone (HLZ)</a:t>
            </a:r>
          </a:p>
        </p:txBody>
      </p:sp>
      <p:sp>
        <p:nvSpPr>
          <p:cNvPr id="47" name="Star: 5 Points 46">
            <a:extLst>
              <a:ext uri="{FF2B5EF4-FFF2-40B4-BE49-F238E27FC236}">
                <a16:creationId xmlns:a16="http://schemas.microsoft.com/office/drawing/2014/main" id="{D52EFCF3-CE5A-A32E-9D5C-CC65FB1B25DE}"/>
              </a:ext>
            </a:extLst>
          </p:cNvPr>
          <p:cNvSpPr/>
          <p:nvPr/>
        </p:nvSpPr>
        <p:spPr>
          <a:xfrm>
            <a:off x="7768671" y="6131025"/>
            <a:ext cx="171220" cy="232451"/>
          </a:xfrm>
          <a:prstGeom prst="star5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AD09739-0E32-5AE5-C53C-CAD2B33AE4E2}"/>
              </a:ext>
            </a:extLst>
          </p:cNvPr>
          <p:cNvSpPr/>
          <p:nvPr/>
        </p:nvSpPr>
        <p:spPr>
          <a:xfrm>
            <a:off x="7786412" y="6503592"/>
            <a:ext cx="171220" cy="171741"/>
          </a:xfrm>
          <a:prstGeom prst="rect">
            <a:avLst/>
          </a:prstGeom>
          <a:noFill/>
          <a:ln w="3810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4EDF1A4-AE2B-CAF7-169A-E9D6D1AEB468}"/>
              </a:ext>
            </a:extLst>
          </p:cNvPr>
          <p:cNvSpPr/>
          <p:nvPr/>
        </p:nvSpPr>
        <p:spPr>
          <a:xfrm>
            <a:off x="1393001" y="1272065"/>
            <a:ext cx="194142" cy="18953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CB5F82D-FAC8-FD44-AD5C-0DE7DF7D98A8}"/>
              </a:ext>
            </a:extLst>
          </p:cNvPr>
          <p:cNvSpPr txBox="1"/>
          <p:nvPr/>
        </p:nvSpPr>
        <p:spPr>
          <a:xfrm>
            <a:off x="142806" y="1959427"/>
            <a:ext cx="59988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9 Demo</a:t>
            </a: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7520930C-0852-2907-2689-C3454A6305FB}"/>
              </a:ext>
            </a:extLst>
          </p:cNvPr>
          <p:cNvCxnSpPr>
            <a:cxnSpLocks/>
          </p:cNvCxnSpPr>
          <p:nvPr/>
        </p:nvCxnSpPr>
        <p:spPr>
          <a:xfrm flipV="1">
            <a:off x="816014" y="1366834"/>
            <a:ext cx="926711" cy="75095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6" name="Plus Sign 25">
            <a:extLst>
              <a:ext uri="{FF2B5EF4-FFF2-40B4-BE49-F238E27FC236}">
                <a16:creationId xmlns:a16="http://schemas.microsoft.com/office/drawing/2014/main" id="{72367D67-8AA4-5A76-C536-7D077DBC56AC}"/>
              </a:ext>
            </a:extLst>
          </p:cNvPr>
          <p:cNvSpPr/>
          <p:nvPr/>
        </p:nvSpPr>
        <p:spPr>
          <a:xfrm>
            <a:off x="1358380" y="1248249"/>
            <a:ext cx="282376" cy="239372"/>
          </a:xfrm>
          <a:prstGeom prst="mathPlus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12" name="Ink 11">
                <a:extLst>
                  <a:ext uri="{FF2B5EF4-FFF2-40B4-BE49-F238E27FC236}">
                    <a16:creationId xmlns:a16="http://schemas.microsoft.com/office/drawing/2014/main" id="{88230E29-4A33-380B-52B5-EABE2667DBFB}"/>
                  </a:ext>
                </a:extLst>
              </p14:cNvPr>
              <p14:cNvContentPartPr/>
              <p14:nvPr/>
            </p14:nvContentPartPr>
            <p14:xfrm>
              <a:off x="64144" y="4948031"/>
              <a:ext cx="4680" cy="360"/>
            </p14:xfrm>
          </p:contentPart>
        </mc:Choice>
        <mc:Fallback xmlns="">
          <p:pic>
            <p:nvPicPr>
              <p:cNvPr id="12" name="Ink 11">
                <a:extLst>
                  <a:ext uri="{FF2B5EF4-FFF2-40B4-BE49-F238E27FC236}">
                    <a16:creationId xmlns:a16="http://schemas.microsoft.com/office/drawing/2014/main" id="{88230E29-4A33-380B-52B5-EABE2667DBFB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0144" y="4840031"/>
                <a:ext cx="112320" cy="216000"/>
              </a:xfrm>
              <a:prstGeom prst="rect">
                <a:avLst/>
              </a:prstGeom>
            </p:spPr>
          </p:pic>
        </mc:Fallback>
      </mc:AlternateContent>
      <p:sp>
        <p:nvSpPr>
          <p:cNvPr id="34" name="Rectangle 33">
            <a:extLst>
              <a:ext uri="{FF2B5EF4-FFF2-40B4-BE49-F238E27FC236}">
                <a16:creationId xmlns:a16="http://schemas.microsoft.com/office/drawing/2014/main" id="{4AD01FA0-0139-00DC-091D-AC793A296E87}"/>
              </a:ext>
            </a:extLst>
          </p:cNvPr>
          <p:cNvSpPr/>
          <p:nvPr/>
        </p:nvSpPr>
        <p:spPr>
          <a:xfrm>
            <a:off x="641290" y="610369"/>
            <a:ext cx="2913249" cy="364449"/>
          </a:xfrm>
          <a:prstGeom prst="rect">
            <a:avLst/>
          </a:prstGeom>
          <a:solidFill>
            <a:srgbClr val="FFFF00">
              <a:alpha val="14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rking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676D65E-A919-BC33-89B5-421E038238F5}"/>
              </a:ext>
            </a:extLst>
          </p:cNvPr>
          <p:cNvSpPr/>
          <p:nvPr/>
        </p:nvSpPr>
        <p:spPr>
          <a:xfrm>
            <a:off x="1705783" y="4114702"/>
            <a:ext cx="926010" cy="504426"/>
          </a:xfrm>
          <a:prstGeom prst="rect">
            <a:avLst/>
          </a:prstGeom>
          <a:solidFill>
            <a:srgbClr val="FFFF00">
              <a:alpha val="14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Volunteer Parking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A76BAE8-0FF5-1C7E-ECD7-094345EC92DD}"/>
              </a:ext>
            </a:extLst>
          </p:cNvPr>
          <p:cNvSpPr/>
          <p:nvPr/>
        </p:nvSpPr>
        <p:spPr>
          <a:xfrm>
            <a:off x="3045171" y="1243556"/>
            <a:ext cx="779694" cy="634544"/>
          </a:xfrm>
          <a:prstGeom prst="rect">
            <a:avLst/>
          </a:prstGeom>
          <a:solidFill>
            <a:srgbClr val="FFFF00">
              <a:alpha val="14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Parking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62" name="Ink 61">
                <a:extLst>
                  <a:ext uri="{FF2B5EF4-FFF2-40B4-BE49-F238E27FC236}">
                    <a16:creationId xmlns:a16="http://schemas.microsoft.com/office/drawing/2014/main" id="{E5713E07-809E-C8C6-F88B-2ACF529DA32A}"/>
                  </a:ext>
                </a:extLst>
              </p14:cNvPr>
              <p14:cNvContentPartPr/>
              <p14:nvPr/>
            </p14:nvContentPartPr>
            <p14:xfrm>
              <a:off x="8686507" y="1980840"/>
              <a:ext cx="1188360" cy="736200"/>
            </p14:xfrm>
          </p:contentPart>
        </mc:Choice>
        <mc:Fallback xmlns="">
          <p:pic>
            <p:nvPicPr>
              <p:cNvPr id="62" name="Ink 61">
                <a:extLst>
                  <a:ext uri="{FF2B5EF4-FFF2-40B4-BE49-F238E27FC236}">
                    <a16:creationId xmlns:a16="http://schemas.microsoft.com/office/drawing/2014/main" id="{E5713E07-809E-C8C6-F88B-2ACF529DA32A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8632507" y="1872840"/>
                <a:ext cx="1296000" cy="951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5">
            <p14:nvContentPartPr>
              <p14:cNvPr id="63" name="Ink 62">
                <a:extLst>
                  <a:ext uri="{FF2B5EF4-FFF2-40B4-BE49-F238E27FC236}">
                    <a16:creationId xmlns:a16="http://schemas.microsoft.com/office/drawing/2014/main" id="{8A78EA19-82F7-F352-6B29-634B1623513F}"/>
                  </a:ext>
                </a:extLst>
              </p14:cNvPr>
              <p14:cNvContentPartPr/>
              <p14:nvPr/>
            </p14:nvContentPartPr>
            <p14:xfrm>
              <a:off x="9246307" y="2209440"/>
              <a:ext cx="727560" cy="1931040"/>
            </p14:xfrm>
          </p:contentPart>
        </mc:Choice>
        <mc:Fallback xmlns="">
          <p:pic>
            <p:nvPicPr>
              <p:cNvPr id="63" name="Ink 62">
                <a:extLst>
                  <a:ext uri="{FF2B5EF4-FFF2-40B4-BE49-F238E27FC236}">
                    <a16:creationId xmlns:a16="http://schemas.microsoft.com/office/drawing/2014/main" id="{8A78EA19-82F7-F352-6B29-634B1623513F}"/>
                  </a:ext>
                </a:extLst>
              </p:cNvPr>
              <p:cNvPicPr/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9192334" y="2101440"/>
                <a:ext cx="835147" cy="2146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7">
            <p14:nvContentPartPr>
              <p14:cNvPr id="64" name="Ink 63">
                <a:extLst>
                  <a:ext uri="{FF2B5EF4-FFF2-40B4-BE49-F238E27FC236}">
                    <a16:creationId xmlns:a16="http://schemas.microsoft.com/office/drawing/2014/main" id="{572363F9-14D8-0577-7746-E9BBCECCBF52}"/>
                  </a:ext>
                </a:extLst>
              </p14:cNvPr>
              <p14:cNvContentPartPr/>
              <p14:nvPr/>
            </p14:nvContentPartPr>
            <p14:xfrm>
              <a:off x="8698166" y="4107963"/>
              <a:ext cx="612360" cy="68400"/>
            </p14:xfrm>
          </p:contentPart>
        </mc:Choice>
        <mc:Fallback xmlns="">
          <p:pic>
            <p:nvPicPr>
              <p:cNvPr id="64" name="Ink 63">
                <a:extLst>
                  <a:ext uri="{FF2B5EF4-FFF2-40B4-BE49-F238E27FC236}">
                    <a16:creationId xmlns:a16="http://schemas.microsoft.com/office/drawing/2014/main" id="{572363F9-14D8-0577-7746-E9BBCECCBF52}"/>
                  </a:ext>
                </a:extLst>
              </p:cNvPr>
              <p:cNvPicPr/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8644166" y="3999963"/>
                <a:ext cx="720000" cy="284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9">
            <p14:nvContentPartPr>
              <p14:cNvPr id="65" name="Ink 64">
                <a:extLst>
                  <a:ext uri="{FF2B5EF4-FFF2-40B4-BE49-F238E27FC236}">
                    <a16:creationId xmlns:a16="http://schemas.microsoft.com/office/drawing/2014/main" id="{449CFA0E-D09B-8840-FBA6-6FCADFBA09D4}"/>
                  </a:ext>
                </a:extLst>
              </p14:cNvPr>
              <p14:cNvContentPartPr/>
              <p14:nvPr/>
            </p14:nvContentPartPr>
            <p14:xfrm>
              <a:off x="506947" y="2722440"/>
              <a:ext cx="4014360" cy="3171240"/>
            </p14:xfrm>
          </p:contentPart>
        </mc:Choice>
        <mc:Fallback xmlns="">
          <p:pic>
            <p:nvPicPr>
              <p:cNvPr id="65" name="Ink 64">
                <a:extLst>
                  <a:ext uri="{FF2B5EF4-FFF2-40B4-BE49-F238E27FC236}">
                    <a16:creationId xmlns:a16="http://schemas.microsoft.com/office/drawing/2014/main" id="{449CFA0E-D09B-8840-FBA6-6FCADFBA09D4}"/>
                  </a:ext>
                </a:extLst>
              </p:cNvPr>
              <p:cNvPicPr/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452947" y="2614440"/>
                <a:ext cx="4122000" cy="3386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1">
            <p14:nvContentPartPr>
              <p14:cNvPr id="66" name="Ink 65">
                <a:extLst>
                  <a:ext uri="{FF2B5EF4-FFF2-40B4-BE49-F238E27FC236}">
                    <a16:creationId xmlns:a16="http://schemas.microsoft.com/office/drawing/2014/main" id="{92CF84AA-B187-837C-C83B-74A0DB637C08}"/>
                  </a:ext>
                </a:extLst>
              </p14:cNvPr>
              <p14:cNvContentPartPr/>
              <p14:nvPr/>
            </p14:nvContentPartPr>
            <p14:xfrm>
              <a:off x="2634187" y="5913480"/>
              <a:ext cx="1472760" cy="250560"/>
            </p14:xfrm>
          </p:contentPart>
        </mc:Choice>
        <mc:Fallback xmlns="">
          <p:pic>
            <p:nvPicPr>
              <p:cNvPr id="66" name="Ink 65">
                <a:extLst>
                  <a:ext uri="{FF2B5EF4-FFF2-40B4-BE49-F238E27FC236}">
                    <a16:creationId xmlns:a16="http://schemas.microsoft.com/office/drawing/2014/main" id="{92CF84AA-B187-837C-C83B-74A0DB637C08}"/>
                  </a:ext>
                </a:extLst>
              </p:cNvPr>
              <p:cNvPicPr/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2580187" y="5805325"/>
                <a:ext cx="1580400" cy="46651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3">
            <p14:nvContentPartPr>
              <p14:cNvPr id="67" name="Ink 66">
                <a:extLst>
                  <a:ext uri="{FF2B5EF4-FFF2-40B4-BE49-F238E27FC236}">
                    <a16:creationId xmlns:a16="http://schemas.microsoft.com/office/drawing/2014/main" id="{BFA1C88B-4402-36CB-9826-0280C72340D5}"/>
                  </a:ext>
                </a:extLst>
              </p14:cNvPr>
              <p14:cNvContentPartPr/>
              <p14:nvPr/>
            </p14:nvContentPartPr>
            <p14:xfrm>
              <a:off x="6282067" y="719400"/>
              <a:ext cx="2396880" cy="1159560"/>
            </p14:xfrm>
          </p:contentPart>
        </mc:Choice>
        <mc:Fallback xmlns="">
          <p:pic>
            <p:nvPicPr>
              <p:cNvPr id="67" name="Ink 66">
                <a:extLst>
                  <a:ext uri="{FF2B5EF4-FFF2-40B4-BE49-F238E27FC236}">
                    <a16:creationId xmlns:a16="http://schemas.microsoft.com/office/drawing/2014/main" id="{BFA1C88B-4402-36CB-9826-0280C72340D5}"/>
                  </a:ext>
                </a:extLst>
              </p:cNvPr>
              <p:cNvPicPr/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6228059" y="611366"/>
                <a:ext cx="2504536" cy="1375267"/>
              </a:xfrm>
              <a:prstGeom prst="rect">
                <a:avLst/>
              </a:prstGeom>
            </p:spPr>
          </p:pic>
        </mc:Fallback>
      </mc:AlternateContent>
      <p:sp>
        <p:nvSpPr>
          <p:cNvPr id="69" name="Arrow: Left 68">
            <a:extLst>
              <a:ext uri="{FF2B5EF4-FFF2-40B4-BE49-F238E27FC236}">
                <a16:creationId xmlns:a16="http://schemas.microsoft.com/office/drawing/2014/main" id="{2F63C198-00F8-22BB-8864-17792BA8F58A}"/>
              </a:ext>
            </a:extLst>
          </p:cNvPr>
          <p:cNvSpPr/>
          <p:nvPr/>
        </p:nvSpPr>
        <p:spPr>
          <a:xfrm rot="15867617">
            <a:off x="9770857" y="3256530"/>
            <a:ext cx="574766" cy="139337"/>
          </a:xfrm>
          <a:prstGeom prst="lef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Arrow: Left 69">
            <a:extLst>
              <a:ext uri="{FF2B5EF4-FFF2-40B4-BE49-F238E27FC236}">
                <a16:creationId xmlns:a16="http://schemas.microsoft.com/office/drawing/2014/main" id="{D196C39F-F7C0-6D48-3140-2499F81BF6F1}"/>
              </a:ext>
            </a:extLst>
          </p:cNvPr>
          <p:cNvSpPr/>
          <p:nvPr/>
        </p:nvSpPr>
        <p:spPr>
          <a:xfrm rot="21200135">
            <a:off x="9099239" y="4308170"/>
            <a:ext cx="574766" cy="139337"/>
          </a:xfrm>
          <a:prstGeom prst="lef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5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66789D4E-B714-CCF5-E754-6623FEBE8761}"/>
                  </a:ext>
                </a:extLst>
              </p14:cNvPr>
              <p14:cNvContentPartPr/>
              <p14:nvPr/>
            </p14:nvContentPartPr>
            <p14:xfrm>
              <a:off x="5247144" y="4251312"/>
              <a:ext cx="3394080" cy="183312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66789D4E-B714-CCF5-E754-6623FEBE8761}"/>
                  </a:ext>
                </a:extLst>
              </p:cNvPr>
              <p:cNvPicPr/>
              <p:nvPr/>
            </p:nvPicPr>
            <p:blipFill>
              <a:blip r:embed="rId26"/>
              <a:stretch>
                <a:fillRect/>
              </a:stretch>
            </p:blipFill>
            <p:spPr>
              <a:xfrm>
                <a:off x="5193144" y="4143672"/>
                <a:ext cx="3501720" cy="2048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7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4FA6B14B-349B-2E2C-06ED-F5FC921B6B39}"/>
                  </a:ext>
                </a:extLst>
              </p14:cNvPr>
              <p14:cNvContentPartPr/>
              <p14:nvPr/>
            </p14:nvContentPartPr>
            <p14:xfrm>
              <a:off x="5238864" y="5330592"/>
              <a:ext cx="555120" cy="867600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4FA6B14B-349B-2E2C-06ED-F5FC921B6B39}"/>
                  </a:ext>
                </a:extLst>
              </p:cNvPr>
              <p:cNvPicPr/>
              <p:nvPr/>
            </p:nvPicPr>
            <p:blipFill>
              <a:blip r:embed="rId28"/>
              <a:stretch>
                <a:fillRect/>
              </a:stretch>
            </p:blipFill>
            <p:spPr>
              <a:xfrm>
                <a:off x="5184864" y="5222952"/>
                <a:ext cx="662760" cy="1083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9">
            <p14:nvContentPartPr>
              <p14:cNvPr id="8" name="Ink 7">
                <a:extLst>
                  <a:ext uri="{FF2B5EF4-FFF2-40B4-BE49-F238E27FC236}">
                    <a16:creationId xmlns:a16="http://schemas.microsoft.com/office/drawing/2014/main" id="{7CA0334C-C7F3-B37E-50D5-92568B9B2500}"/>
                  </a:ext>
                </a:extLst>
              </p14:cNvPr>
              <p14:cNvContentPartPr/>
              <p14:nvPr/>
            </p14:nvContentPartPr>
            <p14:xfrm>
              <a:off x="4394304" y="4919112"/>
              <a:ext cx="808920" cy="602280"/>
            </p14:xfrm>
          </p:contentPart>
        </mc:Choice>
        <mc:Fallback xmlns="">
          <p:pic>
            <p:nvPicPr>
              <p:cNvPr id="8" name="Ink 7">
                <a:extLst>
                  <a:ext uri="{FF2B5EF4-FFF2-40B4-BE49-F238E27FC236}">
                    <a16:creationId xmlns:a16="http://schemas.microsoft.com/office/drawing/2014/main" id="{7CA0334C-C7F3-B37E-50D5-92568B9B2500}"/>
                  </a:ext>
                </a:extLst>
              </p:cNvPr>
              <p:cNvPicPr/>
              <p:nvPr/>
            </p:nvPicPr>
            <p:blipFill>
              <a:blip r:embed="rId30"/>
              <a:stretch>
                <a:fillRect/>
              </a:stretch>
            </p:blipFill>
            <p:spPr>
              <a:xfrm>
                <a:off x="4340304" y="4811472"/>
                <a:ext cx="916560" cy="817920"/>
              </a:xfrm>
              <a:prstGeom prst="rect">
                <a:avLst/>
              </a:prstGeom>
            </p:spPr>
          </p:pic>
        </mc:Fallback>
      </mc:AlternateContent>
      <p:sp>
        <p:nvSpPr>
          <p:cNvPr id="11" name="Arrow: Left 10">
            <a:extLst>
              <a:ext uri="{FF2B5EF4-FFF2-40B4-BE49-F238E27FC236}">
                <a16:creationId xmlns:a16="http://schemas.microsoft.com/office/drawing/2014/main" id="{42A30EB6-1021-1406-7AD1-CDF34B2E781C}"/>
              </a:ext>
            </a:extLst>
          </p:cNvPr>
          <p:cNvSpPr/>
          <p:nvPr/>
        </p:nvSpPr>
        <p:spPr>
          <a:xfrm rot="3782258">
            <a:off x="4830669" y="5803201"/>
            <a:ext cx="574766" cy="139337"/>
          </a:xfrm>
          <a:prstGeom prst="lef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Arrow: Left 16">
            <a:extLst>
              <a:ext uri="{FF2B5EF4-FFF2-40B4-BE49-F238E27FC236}">
                <a16:creationId xmlns:a16="http://schemas.microsoft.com/office/drawing/2014/main" id="{FC5B6A71-B199-05F6-F726-52184B2EE788}"/>
              </a:ext>
            </a:extLst>
          </p:cNvPr>
          <p:cNvSpPr/>
          <p:nvPr/>
        </p:nvSpPr>
        <p:spPr>
          <a:xfrm rot="19589559">
            <a:off x="3724370" y="5482912"/>
            <a:ext cx="574766" cy="139337"/>
          </a:xfrm>
          <a:prstGeom prst="lef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6C7B46C-372A-5356-7B77-50F78546E938}"/>
              </a:ext>
            </a:extLst>
          </p:cNvPr>
          <p:cNvSpPr/>
          <p:nvPr/>
        </p:nvSpPr>
        <p:spPr>
          <a:xfrm>
            <a:off x="1370281" y="2963788"/>
            <a:ext cx="719941" cy="430887"/>
          </a:xfrm>
          <a:prstGeom prst="rect">
            <a:avLst/>
          </a:prstGeom>
          <a:noFill/>
          <a:ln w="3810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HLZ [1]</a:t>
            </a:r>
          </a:p>
        </p:txBody>
      </p:sp>
      <p:sp>
        <p:nvSpPr>
          <p:cNvPr id="18" name="Star: 5 Points 17">
            <a:extLst>
              <a:ext uri="{FF2B5EF4-FFF2-40B4-BE49-F238E27FC236}">
                <a16:creationId xmlns:a16="http://schemas.microsoft.com/office/drawing/2014/main" id="{CF3E89B8-FD0B-41F2-8ECE-0D85272FE916}"/>
              </a:ext>
            </a:extLst>
          </p:cNvPr>
          <p:cNvSpPr/>
          <p:nvPr/>
        </p:nvSpPr>
        <p:spPr>
          <a:xfrm>
            <a:off x="9824551" y="2570691"/>
            <a:ext cx="256555" cy="292698"/>
          </a:xfrm>
          <a:prstGeom prst="star5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62A5557-FCB0-ECEA-7508-5008A8B1ABF1}"/>
              </a:ext>
            </a:extLst>
          </p:cNvPr>
          <p:cNvSpPr txBox="1"/>
          <p:nvPr/>
        </p:nvSpPr>
        <p:spPr>
          <a:xfrm>
            <a:off x="9537588" y="2200969"/>
            <a:ext cx="110308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CP E / JnJ Security</a:t>
            </a:r>
          </a:p>
        </p:txBody>
      </p:sp>
    </p:spTree>
    <p:extLst>
      <p:ext uri="{BB962C8B-B14F-4D97-AF65-F5344CB8AC3E}">
        <p14:creationId xmlns:p14="http://schemas.microsoft.com/office/powerpoint/2010/main" val="6735455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aerial view of a building&#10;&#10;Description automatically generated">
            <a:extLst>
              <a:ext uri="{FF2B5EF4-FFF2-40B4-BE49-F238E27FC236}">
                <a16:creationId xmlns:a16="http://schemas.microsoft.com/office/drawing/2014/main" id="{08442AA0-2E90-05F1-0254-229FF7F3252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7351" b="9021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2670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F6C5345-B156-1A28-DBBC-251C3A9F7DC6}"/>
              </a:ext>
            </a:extLst>
          </p:cNvPr>
          <p:cNvSpPr txBox="1"/>
          <p:nvPr/>
        </p:nvSpPr>
        <p:spPr>
          <a:xfrm>
            <a:off x="5203541" y="1413063"/>
            <a:ext cx="6988459" cy="443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u="sng" dirty="0"/>
              <a:t>The Royal</a:t>
            </a:r>
          </a:p>
          <a:p>
            <a:pPr algn="ctr"/>
            <a:r>
              <a:rPr lang="en-US" sz="5400" b="1" dirty="0"/>
              <a:t>Address: 3331 US-22, Branchburg, NJ 08876</a:t>
            </a:r>
          </a:p>
          <a:p>
            <a:pPr algn="ctr"/>
            <a:r>
              <a:rPr lang="en-US" sz="2000" b="1" i="1" dirty="0"/>
              <a:t>*The Royal is about 10 minutes away from the JnJ Raritan Campus*</a:t>
            </a:r>
          </a:p>
          <a:p>
            <a:pPr algn="ctr"/>
            <a:endParaRPr lang="en-US" sz="2000" b="1" i="1" dirty="0"/>
          </a:p>
          <a:p>
            <a:endParaRPr lang="en-US" sz="2000" b="1" i="1" dirty="0"/>
          </a:p>
          <a:p>
            <a:r>
              <a:rPr lang="en-US" sz="2000" b="1" i="1" dirty="0"/>
              <a:t>For more information on HOME of Somerset County, INC. see their website: </a:t>
            </a:r>
            <a:r>
              <a:rPr lang="en-US" sz="2000" b="1" i="1" dirty="0">
                <a:hlinkClick r:id="rId2"/>
              </a:rPr>
              <a:t>HOME</a:t>
            </a:r>
            <a:endParaRPr lang="en-US" sz="2000" b="1" i="1" dirty="0"/>
          </a:p>
        </p:txBody>
      </p:sp>
      <p:pic>
        <p:nvPicPr>
          <p:cNvPr id="5" name="Picture 4" descr="A white card with blue and black text&#10;&#10;Description automatically generated">
            <a:extLst>
              <a:ext uri="{FF2B5EF4-FFF2-40B4-BE49-F238E27FC236}">
                <a16:creationId xmlns:a16="http://schemas.microsoft.com/office/drawing/2014/main" id="{B1A7301B-1C5A-4716-093C-0C8FD7FB20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1435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462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AB902CB9-C7DC-4673-B7D5-F22DCF0EC5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4" descr="United States Air Force Seal Stock Illustrations – 328 United States Air  Force Seal Stock Illustrations, Vectors &amp; Clipart - Dreamstime">
            <a:extLst>
              <a:ext uri="{FF2B5EF4-FFF2-40B4-BE49-F238E27FC236}">
                <a16:creationId xmlns:a16="http://schemas.microsoft.com/office/drawing/2014/main" id="{873BCB96-50D0-CDE6-12C0-B81210B433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6098" y="552354"/>
            <a:ext cx="2240384" cy="2240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United States Navy Seal">
            <a:extLst>
              <a:ext uri="{FF2B5EF4-FFF2-40B4-BE49-F238E27FC236}">
                <a16:creationId xmlns:a16="http://schemas.microsoft.com/office/drawing/2014/main" id="{2ECB3FA7-1223-415B-CFD7-AB85EE3FA0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93536" y="552354"/>
            <a:ext cx="2240384" cy="2240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Army Seal Logo US Army Emblem Military Round Vinyl Decal Sticker for Cars  Trucks Laptops etc... (5 Inch Full Color)">
            <a:extLst>
              <a:ext uri="{FF2B5EF4-FFF2-40B4-BE49-F238E27FC236}">
                <a16:creationId xmlns:a16="http://schemas.microsoft.com/office/drawing/2014/main" id="{68863465-A727-7310-58C7-5CA0CDD763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80974" y="552354"/>
            <a:ext cx="2240384" cy="2240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U.S. Coast Guard seal.">
            <a:extLst>
              <a:ext uri="{FF2B5EF4-FFF2-40B4-BE49-F238E27FC236}">
                <a16:creationId xmlns:a16="http://schemas.microsoft.com/office/drawing/2014/main" id="{1397BF96-A159-170A-DD28-27E6580E8D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68412" y="552354"/>
            <a:ext cx="2240384" cy="2240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Round Official Marine Corps Seal Sticker (Logo Vet Retired Served Vinyl  Decal for car Truck or Laptop (3 inch) USMC Licensed">
            <a:extLst>
              <a:ext uri="{FF2B5EF4-FFF2-40B4-BE49-F238E27FC236}">
                <a16:creationId xmlns:a16="http://schemas.microsoft.com/office/drawing/2014/main" id="{D075BCCF-C718-FE9A-C370-870407CEFF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750377" y="560951"/>
            <a:ext cx="2251332" cy="2223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F6C5345-B156-1A28-DBBC-251C3A9F7DC6}"/>
              </a:ext>
            </a:extLst>
          </p:cNvPr>
          <p:cNvSpPr txBox="1"/>
          <p:nvPr/>
        </p:nvSpPr>
        <p:spPr>
          <a:xfrm>
            <a:off x="838200" y="3429000"/>
            <a:ext cx="10515595" cy="26933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3200" b="1" dirty="0"/>
              <a:t>On Race Day, please sign on of the Veterans Day Cards at the registration tent.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3200" b="1" dirty="0"/>
              <a:t>These cards will be delivered to Veterans at the 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3200" b="1" dirty="0"/>
              <a:t>Menlo Park Veterans Memorial Home in Edison, NJ on Veterans Day.</a:t>
            </a:r>
          </a:p>
        </p:txBody>
      </p:sp>
    </p:spTree>
    <p:extLst>
      <p:ext uri="{BB962C8B-B14F-4D97-AF65-F5344CB8AC3E}">
        <p14:creationId xmlns:p14="http://schemas.microsoft.com/office/powerpoint/2010/main" val="17570172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8</TotalTime>
  <Words>385</Words>
  <Application>Microsoft Office PowerPoint</Application>
  <PresentationFormat>Widescreen</PresentationFormat>
  <Paragraphs>57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Calibri Light</vt:lpstr>
      <vt:lpstr>Verdana</vt:lpstr>
      <vt:lpstr>Office Theme</vt:lpstr>
      <vt:lpstr>think-cell Slide</vt:lpstr>
      <vt:lpstr>Race Day  Agenda</vt:lpstr>
      <vt:lpstr>IMPORTANT NOTES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oremus, Darrell [JJCUS]</dc:creator>
  <cp:lastModifiedBy>Mcmiller ii, Eric [GTSUS]</cp:lastModifiedBy>
  <cp:revision>8</cp:revision>
  <dcterms:created xsi:type="dcterms:W3CDTF">2023-08-14T14:57:59Z</dcterms:created>
  <dcterms:modified xsi:type="dcterms:W3CDTF">2024-08-21T20:17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a85929b-232e-42d6-98ae-ef1aa01cbfa4_Enabled">
    <vt:lpwstr>true</vt:lpwstr>
  </property>
  <property fmtid="{D5CDD505-2E9C-101B-9397-08002B2CF9AE}" pid="3" name="MSIP_Label_0a85929b-232e-42d6-98ae-ef1aa01cbfa4_SetDate">
    <vt:lpwstr>2023-09-11T19:07:16Z</vt:lpwstr>
  </property>
  <property fmtid="{D5CDD505-2E9C-101B-9397-08002B2CF9AE}" pid="4" name="MSIP_Label_0a85929b-232e-42d6-98ae-ef1aa01cbfa4_Method">
    <vt:lpwstr>Standard</vt:lpwstr>
  </property>
  <property fmtid="{D5CDD505-2E9C-101B-9397-08002B2CF9AE}" pid="5" name="MSIP_Label_0a85929b-232e-42d6-98ae-ef1aa01cbfa4_Name">
    <vt:lpwstr>Not Sensitive</vt:lpwstr>
  </property>
  <property fmtid="{D5CDD505-2E9C-101B-9397-08002B2CF9AE}" pid="6" name="MSIP_Label_0a85929b-232e-42d6-98ae-ef1aa01cbfa4_SiteId">
    <vt:lpwstr>3ac94b33-9135-4821-9502-eafda6592a35</vt:lpwstr>
  </property>
  <property fmtid="{D5CDD505-2E9C-101B-9397-08002B2CF9AE}" pid="7" name="MSIP_Label_0a85929b-232e-42d6-98ae-ef1aa01cbfa4_ActionId">
    <vt:lpwstr>8b838fd6-1dc7-49ca-a4d6-fab0b367123f</vt:lpwstr>
  </property>
  <property fmtid="{D5CDD505-2E9C-101B-9397-08002B2CF9AE}" pid="8" name="MSIP_Label_0a85929b-232e-42d6-98ae-ef1aa01cbfa4_ContentBits">
    <vt:lpwstr>0</vt:lpwstr>
  </property>
</Properties>
</file>